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3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notesSlides/notesSlide4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notesSlides/notesSlide5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9.xml" ContentType="application/inkml+xml"/>
  <Override PartName="/ppt/ink/ink10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1.xml" ContentType="application/inkml+xml"/>
  <Override PartName="/ppt/ink/ink12.xml" ContentType="application/inkml+xml"/>
  <Override PartName="/ppt/notesSlides/notesSlide13.xml" ContentType="application/vnd.openxmlformats-officedocument.presentationml.notesSlide+xml"/>
  <Override PartName="/ppt/ink/ink13.xml" ContentType="application/inkml+xml"/>
  <Override PartName="/ppt/ink/ink14.xml" ContentType="application/inkml+xml"/>
  <Override PartName="/ppt/notesSlides/notesSlide14.xml" ContentType="application/vnd.openxmlformats-officedocument.presentationml.notesSlide+xml"/>
  <Override PartName="/ppt/ink/ink15.xml" ContentType="application/inkml+xml"/>
  <Override PartName="/ppt/ink/ink16.xml" ContentType="application/inkml+xml"/>
  <Override PartName="/ppt/notesSlides/notesSlide15.xml" ContentType="application/vnd.openxmlformats-officedocument.presentationml.notesSlide+xml"/>
  <Override PartName="/ppt/ink/ink17.xml" ContentType="application/inkml+xml"/>
  <Override PartName="/ppt/ink/ink18.xml" ContentType="application/inkml+xml"/>
  <Override PartName="/ppt/notesSlides/notesSlide16.xml" ContentType="application/vnd.openxmlformats-officedocument.presentationml.notesSlide+xml"/>
  <Override PartName="/ppt/ink/ink19.xml" ContentType="application/inkml+xml"/>
  <Override PartName="/ppt/ink/ink20.xml" ContentType="application/inkml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ink/ink21.xml" ContentType="application/inkml+xml"/>
  <Override PartName="/ppt/ink/ink22.xml" ContentType="application/inkml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0" r:id="rId4"/>
    <p:sldMasterId id="2147483796" r:id="rId5"/>
    <p:sldMasterId id="2147483806" r:id="rId6"/>
    <p:sldMasterId id="2147483818" r:id="rId7"/>
  </p:sldMasterIdLst>
  <p:notesMasterIdLst>
    <p:notesMasterId r:id="rId27"/>
  </p:notesMasterIdLst>
  <p:sldIdLst>
    <p:sldId id="2147138469" r:id="rId8"/>
    <p:sldId id="2147138569" r:id="rId9"/>
    <p:sldId id="2147138690" r:id="rId10"/>
    <p:sldId id="2147138570" r:id="rId11"/>
    <p:sldId id="2147138571" r:id="rId12"/>
    <p:sldId id="2147138668" r:id="rId13"/>
    <p:sldId id="2147138667" r:id="rId14"/>
    <p:sldId id="2147138671" r:id="rId15"/>
    <p:sldId id="2147138588" r:id="rId16"/>
    <p:sldId id="2147138673" r:id="rId17"/>
    <p:sldId id="2147138670" r:id="rId18"/>
    <p:sldId id="2147138691" r:id="rId19"/>
    <p:sldId id="2147138692" r:id="rId20"/>
    <p:sldId id="2147138584" r:id="rId21"/>
    <p:sldId id="2147138675" r:id="rId22"/>
    <p:sldId id="2147138564" r:id="rId23"/>
    <p:sldId id="2147138669" r:id="rId24"/>
    <p:sldId id="2147138693" r:id="rId25"/>
    <p:sldId id="2147138582" r:id="rId26"/>
  </p:sldIdLst>
  <p:sldSz cx="12192000" cy="6858000"/>
  <p:notesSz cx="6858000" cy="93138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6764C2-8046-630B-1B7E-C46DD2F62F77}" name="Paul Armstrong" initials="PA" userId="S::parmstrong@northeastgas.org::194dff70-63d8-4db4-a7a3-85c8ba13bbd8" providerId="AD"/>
  <p188:author id="{A7A971E0-5FB8-E712-7C20-B3971AC73762}" name="Glenn Meyers" initials="GM" userId="S::gmeyers@northeastgas.org::b60be64c-449c-4eeb-9da1-5a152716c2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50" autoAdjust="0"/>
    <p:restoredTop sz="96247" autoAdjust="0"/>
  </p:normalViewPr>
  <p:slideViewPr>
    <p:cSldViewPr snapToGrid="0">
      <p:cViewPr varScale="1">
        <p:scale>
          <a:sx n="111" d="100"/>
          <a:sy n="111" d="100"/>
        </p:scale>
        <p:origin x="10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lenn Meyers" userId="b60be64c-449c-4eeb-9da1-5a152716c249" providerId="ADAL" clId="{5F6BD3D1-9C36-4619-8DAA-607696AC943E}"/>
    <pc:docChg chg="undo custSel addSld delSld modSld">
      <pc:chgData name="Glenn Meyers" userId="b60be64c-449c-4eeb-9da1-5a152716c249" providerId="ADAL" clId="{5F6BD3D1-9C36-4619-8DAA-607696AC943E}" dt="2026-05-26T17:07:30.143" v="84" actId="14100"/>
      <pc:docMkLst>
        <pc:docMk/>
      </pc:docMkLst>
      <pc:sldChg chg="modSp del mod">
        <pc:chgData name="Glenn Meyers" userId="b60be64c-449c-4eeb-9da1-5a152716c249" providerId="ADAL" clId="{5F6BD3D1-9C36-4619-8DAA-607696AC943E}" dt="2026-05-26T16:59:46.240" v="33" actId="47"/>
        <pc:sldMkLst>
          <pc:docMk/>
          <pc:sldMk cId="2034695824" sldId="2147138563"/>
        </pc:sldMkLst>
        <pc:spChg chg="mod">
          <ac:chgData name="Glenn Meyers" userId="b60be64c-449c-4eeb-9da1-5a152716c249" providerId="ADAL" clId="{5F6BD3D1-9C36-4619-8DAA-607696AC943E}" dt="2026-05-26T16:57:56.367" v="16" actId="20577"/>
          <ac:spMkLst>
            <pc:docMk/>
            <pc:sldMk cId="2034695824" sldId="2147138563"/>
            <ac:spMk id="5" creationId="{5FA1FBBA-8E0F-2090-56BB-8C1227375FBB}"/>
          </ac:spMkLst>
        </pc:spChg>
      </pc:sldChg>
      <pc:sldChg chg="addSp modSp mod">
        <pc:chgData name="Glenn Meyers" userId="b60be64c-449c-4eeb-9da1-5a152716c249" providerId="ADAL" clId="{5F6BD3D1-9C36-4619-8DAA-607696AC943E}" dt="2026-05-26T16:59:37.364" v="32" actId="14100"/>
        <pc:sldMkLst>
          <pc:docMk/>
          <pc:sldMk cId="4190613126" sldId="2147138564"/>
        </pc:sldMkLst>
        <pc:spChg chg="mod">
          <ac:chgData name="Glenn Meyers" userId="b60be64c-449c-4eeb-9da1-5a152716c249" providerId="ADAL" clId="{5F6BD3D1-9C36-4619-8DAA-607696AC943E}" dt="2026-05-26T16:58:25.218" v="21" actId="404"/>
          <ac:spMkLst>
            <pc:docMk/>
            <pc:sldMk cId="4190613126" sldId="2147138564"/>
            <ac:spMk id="3" creationId="{55268492-1552-B109-218C-733E45B9A5DA}"/>
          </ac:spMkLst>
        </pc:spChg>
        <pc:spChg chg="add mod">
          <ac:chgData name="Glenn Meyers" userId="b60be64c-449c-4eeb-9da1-5a152716c249" providerId="ADAL" clId="{5F6BD3D1-9C36-4619-8DAA-607696AC943E}" dt="2026-05-26T16:58:40.659" v="24" actId="14100"/>
          <ac:spMkLst>
            <pc:docMk/>
            <pc:sldMk cId="4190613126" sldId="2147138564"/>
            <ac:spMk id="6" creationId="{9C7B09DC-F80F-D218-FA21-BC5A04F58BA6}"/>
          </ac:spMkLst>
        </pc:spChg>
        <pc:spChg chg="mod">
          <ac:chgData name="Glenn Meyers" userId="b60be64c-449c-4eeb-9da1-5a152716c249" providerId="ADAL" clId="{5F6BD3D1-9C36-4619-8DAA-607696AC943E}" dt="2026-05-26T16:59:21.808" v="29" actId="1076"/>
          <ac:spMkLst>
            <pc:docMk/>
            <pc:sldMk cId="4190613126" sldId="2147138564"/>
            <ac:spMk id="7" creationId="{111770B1-87B9-99A9-2738-4B7666A5E183}"/>
          </ac:spMkLst>
        </pc:spChg>
        <pc:picChg chg="mod">
          <ac:chgData name="Glenn Meyers" userId="b60be64c-449c-4eeb-9da1-5a152716c249" providerId="ADAL" clId="{5F6BD3D1-9C36-4619-8DAA-607696AC943E}" dt="2026-05-26T16:58:32.236" v="22" actId="1076"/>
          <ac:picMkLst>
            <pc:docMk/>
            <pc:sldMk cId="4190613126" sldId="2147138564"/>
            <ac:picMk id="5" creationId="{6BF60CED-0D77-526E-B9A8-006584AB8AFB}"/>
          </ac:picMkLst>
        </pc:picChg>
        <pc:cxnChg chg="add mod">
          <ac:chgData name="Glenn Meyers" userId="b60be64c-449c-4eeb-9da1-5a152716c249" providerId="ADAL" clId="{5F6BD3D1-9C36-4619-8DAA-607696AC943E}" dt="2026-05-26T16:59:37.364" v="32" actId="14100"/>
          <ac:cxnSpMkLst>
            <pc:docMk/>
            <pc:sldMk cId="4190613126" sldId="2147138564"/>
            <ac:cxnSpMk id="10" creationId="{50669854-4142-2AC3-9E7B-8A949FED748C}"/>
          </ac:cxnSpMkLst>
        </pc:cxnChg>
        <pc:cxnChg chg="mod">
          <ac:chgData name="Glenn Meyers" userId="b60be64c-449c-4eeb-9da1-5a152716c249" providerId="ADAL" clId="{5F6BD3D1-9C36-4619-8DAA-607696AC943E}" dt="2026-05-26T16:59:07.203" v="27" actId="14100"/>
          <ac:cxnSpMkLst>
            <pc:docMk/>
            <pc:sldMk cId="4190613126" sldId="2147138564"/>
            <ac:cxnSpMk id="12" creationId="{615EF7CB-D1FA-EA9D-ABA4-50F4463395F7}"/>
          </ac:cxnSpMkLst>
        </pc:cxnChg>
      </pc:sldChg>
      <pc:sldChg chg="modSp mod">
        <pc:chgData name="Glenn Meyers" userId="b60be64c-449c-4eeb-9da1-5a152716c249" providerId="ADAL" clId="{5F6BD3D1-9C36-4619-8DAA-607696AC943E}" dt="2026-05-26T16:55:31.720" v="1" actId="20577"/>
        <pc:sldMkLst>
          <pc:docMk/>
          <pc:sldMk cId="3303099039" sldId="2147138571"/>
        </pc:sldMkLst>
        <pc:spChg chg="mod">
          <ac:chgData name="Glenn Meyers" userId="b60be64c-449c-4eeb-9da1-5a152716c249" providerId="ADAL" clId="{5F6BD3D1-9C36-4619-8DAA-607696AC943E}" dt="2026-05-26T16:55:31.720" v="1" actId="20577"/>
          <ac:spMkLst>
            <pc:docMk/>
            <pc:sldMk cId="3303099039" sldId="2147138571"/>
            <ac:spMk id="6" creationId="{23764A92-8E61-ACED-2592-96E803917FC6}"/>
          </ac:spMkLst>
        </pc:spChg>
      </pc:sldChg>
      <pc:sldChg chg="modSp mod">
        <pc:chgData name="Glenn Meyers" userId="b60be64c-449c-4eeb-9da1-5a152716c249" providerId="ADAL" clId="{5F6BD3D1-9C36-4619-8DAA-607696AC943E}" dt="2026-05-26T16:56:57.650" v="5" actId="20577"/>
        <pc:sldMkLst>
          <pc:docMk/>
          <pc:sldMk cId="1850482794" sldId="2147138584"/>
        </pc:sldMkLst>
        <pc:spChg chg="mod">
          <ac:chgData name="Glenn Meyers" userId="b60be64c-449c-4eeb-9da1-5a152716c249" providerId="ADAL" clId="{5F6BD3D1-9C36-4619-8DAA-607696AC943E}" dt="2026-05-26T16:56:57.650" v="5" actId="20577"/>
          <ac:spMkLst>
            <pc:docMk/>
            <pc:sldMk cId="1850482794" sldId="2147138584"/>
            <ac:spMk id="6" creationId="{35B2FAC4-B2CF-9DBE-13C9-5AA6F6F6B66A}"/>
          </ac:spMkLst>
        </pc:spChg>
      </pc:sldChg>
      <pc:sldChg chg="modSp mod">
        <pc:chgData name="Glenn Meyers" userId="b60be64c-449c-4eeb-9da1-5a152716c249" providerId="ADAL" clId="{5F6BD3D1-9C36-4619-8DAA-607696AC943E}" dt="2026-05-26T16:56:08.689" v="3" actId="20577"/>
        <pc:sldMkLst>
          <pc:docMk/>
          <pc:sldMk cId="3116049245" sldId="2147138588"/>
        </pc:sldMkLst>
        <pc:spChg chg="mod">
          <ac:chgData name="Glenn Meyers" userId="b60be64c-449c-4eeb-9da1-5a152716c249" providerId="ADAL" clId="{5F6BD3D1-9C36-4619-8DAA-607696AC943E}" dt="2026-05-26T16:56:08.689" v="3" actId="20577"/>
          <ac:spMkLst>
            <pc:docMk/>
            <pc:sldMk cId="3116049245" sldId="2147138588"/>
            <ac:spMk id="5" creationId="{BA3DD31D-ADDF-5F53-DF52-6B9D8F4ACAAB}"/>
          </ac:spMkLst>
        </pc:spChg>
      </pc:sldChg>
      <pc:sldChg chg="addSp delSp modSp add mod">
        <pc:chgData name="Glenn Meyers" userId="b60be64c-449c-4eeb-9da1-5a152716c249" providerId="ADAL" clId="{5F6BD3D1-9C36-4619-8DAA-607696AC943E}" dt="2026-05-26T17:07:30.143" v="84" actId="14100"/>
        <pc:sldMkLst>
          <pc:docMk/>
          <pc:sldMk cId="1592932182" sldId="2147138693"/>
        </pc:sldMkLst>
        <pc:spChg chg="add mod">
          <ac:chgData name="Glenn Meyers" userId="b60be64c-449c-4eeb-9da1-5a152716c249" providerId="ADAL" clId="{5F6BD3D1-9C36-4619-8DAA-607696AC943E}" dt="2026-05-26T17:07:23.063" v="82" actId="1076"/>
          <ac:spMkLst>
            <pc:docMk/>
            <pc:sldMk cId="1592932182" sldId="2147138693"/>
            <ac:spMk id="2" creationId="{A83AAE68-C215-E4BA-9B1D-C44B0874662F}"/>
          </ac:spMkLst>
        </pc:spChg>
        <pc:spChg chg="mod">
          <ac:chgData name="Glenn Meyers" userId="b60be64c-449c-4eeb-9da1-5a152716c249" providerId="ADAL" clId="{5F6BD3D1-9C36-4619-8DAA-607696AC943E}" dt="2026-05-26T17:04:11.770" v="43" actId="20577"/>
          <ac:spMkLst>
            <pc:docMk/>
            <pc:sldMk cId="1592932182" sldId="2147138693"/>
            <ac:spMk id="6" creationId="{3E8E180B-F39C-5101-2D6F-2AAAAF7E6ADA}"/>
          </ac:spMkLst>
        </pc:spChg>
        <pc:picChg chg="add mod">
          <ac:chgData name="Glenn Meyers" userId="b60be64c-449c-4eeb-9da1-5a152716c249" providerId="ADAL" clId="{5F6BD3D1-9C36-4619-8DAA-607696AC943E}" dt="2026-05-26T17:07:30.143" v="84" actId="14100"/>
          <ac:picMkLst>
            <pc:docMk/>
            <pc:sldMk cId="1592932182" sldId="2147138693"/>
            <ac:picMk id="4" creationId="{FDF49309-33ED-6C9E-1CDE-F1FBCF20B7B9}"/>
          </ac:picMkLst>
        </pc:picChg>
        <pc:picChg chg="del">
          <ac:chgData name="Glenn Meyers" userId="b60be64c-449c-4eeb-9da1-5a152716c249" providerId="ADAL" clId="{5F6BD3D1-9C36-4619-8DAA-607696AC943E}" dt="2026-05-26T17:04:14.560" v="45" actId="478"/>
          <ac:picMkLst>
            <pc:docMk/>
            <pc:sldMk cId="1592932182" sldId="2147138693"/>
            <ac:picMk id="3074" creationId="{94AE4ADB-C7A7-8853-5BBA-389F82814AA0}"/>
          </ac:picMkLst>
        </pc:picChg>
        <pc:picChg chg="del">
          <ac:chgData name="Glenn Meyers" userId="b60be64c-449c-4eeb-9da1-5a152716c249" providerId="ADAL" clId="{5F6BD3D1-9C36-4619-8DAA-607696AC943E}" dt="2026-05-26T17:04:13.995" v="44" actId="478"/>
          <ac:picMkLst>
            <pc:docMk/>
            <pc:sldMk cId="1592932182" sldId="2147138693"/>
            <ac:picMk id="3075" creationId="{CB151A38-8485-F9E0-7FB3-B15567371BFA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19.43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2-10T14:37:07.6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7311"/>
          </a:xfrm>
          <a:prstGeom prst="rect">
            <a:avLst/>
          </a:prstGeom>
        </p:spPr>
        <p:txBody>
          <a:bodyPr vert="horz" lIns="91432" tIns="45717" rIns="91432" bIns="4571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67311"/>
          </a:xfrm>
          <a:prstGeom prst="rect">
            <a:avLst/>
          </a:prstGeom>
        </p:spPr>
        <p:txBody>
          <a:bodyPr vert="horz" lIns="91432" tIns="45717" rIns="91432" bIns="45717" rtlCol="0"/>
          <a:lstStyle>
            <a:lvl1pPr algn="r">
              <a:defRPr sz="1200"/>
            </a:lvl1pPr>
          </a:lstStyle>
          <a:p>
            <a:fld id="{456D4C76-4BB1-4F5F-AEF5-8EE89A962CB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500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7" rIns="91432" bIns="4571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82296"/>
            <a:ext cx="5486400" cy="3667334"/>
          </a:xfrm>
          <a:prstGeom prst="rect">
            <a:avLst/>
          </a:prstGeom>
        </p:spPr>
        <p:txBody>
          <a:bodyPr vert="horz" lIns="91432" tIns="45717" rIns="91432" bIns="4571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7310"/>
          </a:xfrm>
          <a:prstGeom prst="rect">
            <a:avLst/>
          </a:prstGeom>
        </p:spPr>
        <p:txBody>
          <a:bodyPr vert="horz" lIns="91432" tIns="45717" rIns="91432" bIns="4571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7310"/>
          </a:xfrm>
          <a:prstGeom prst="rect">
            <a:avLst/>
          </a:prstGeom>
        </p:spPr>
        <p:txBody>
          <a:bodyPr vert="horz" lIns="91432" tIns="45717" rIns="91432" bIns="45717" rtlCol="0" anchor="b"/>
          <a:lstStyle>
            <a:lvl1pPr algn="r">
              <a:defRPr sz="1200"/>
            </a:lvl1pPr>
          </a:lstStyle>
          <a:p>
            <a:fld id="{AF067CFA-A724-4E14-8AB3-8CDADF796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486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2414">
              <a:defRPr/>
            </a:pPr>
            <a:fld id="{4CA08612-DF2A-BD4E-BD77-A81C10C4B7C8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2414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120280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238DD-368D-7696-CD13-FEB9B0C73D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3C3A12-F5F1-1403-AFCF-7B991F396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FBEFBB-7210-8FA9-FF62-A652AD5E3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818DA2-9138-C089-98FB-1D51D6C37C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7683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79C530-DECF-5399-3B07-862964143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18CDE0-7525-4A9E-CB77-41C2C06E1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121386-12C5-FDB5-2BED-C759B58032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B07FC8-457D-29FB-6249-97DC314E94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006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1ECC4-3054-8AEF-B7D0-81E66B0F9D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40CF0D-B7F1-16D3-9A4F-F4015FB45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32472C-4555-3449-819E-94BED9AFF3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0EF29D-F328-D1F4-095A-3F21CB5547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50095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78C12F-1988-BD83-F3E8-55B58E506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982F34-482B-9977-8526-997D798B4A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0AA8E7-83B6-4389-F227-92BF396993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7BDB5-F314-DEAE-78FD-C9C080D314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0216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839BB-2DC2-247B-1712-DCC673185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A5C7A8-C8DD-0AD3-9245-7CAD99BB6E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C9064E-89C0-7250-ACDF-B2C3506908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8F4169-1D76-816A-FDB5-69DC2F3EF6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629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38AFF-02B9-A7FB-9A88-831C357CB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B9A658-9E6A-6A36-51F5-D101703C67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50AE8D-A3F1-17EB-1433-B855FF272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A62A85-DCD9-3D67-9C58-D3ACF4B2C0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24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9B4562-152E-05F9-B8DC-B3FDCA89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66A9E4-391E-A235-3044-DEF54C8797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19C62E-61D3-559D-2FFE-C2EFEFAFF7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14EA-D053-C261-7067-39E06D007C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3524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1B783-9BF1-4BD2-1053-040007650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BED734-26AF-0337-CB60-37A6962050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C26C10-7BCB-230F-C4D3-573C2E029B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30857-A00A-0869-E456-E49C2555CF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82070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25C164-E9E2-30D7-90ED-757A6E8AB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0ADEC4-D523-76F4-69A3-BCBEA01C8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F349BA-30B1-8D6B-2F43-F5005E6E6B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59311-279F-32E6-C407-B393D4782C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48440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B6C2C-3B38-9F2F-DB52-E4003C349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BE2C6D-7A6C-51A6-EA6F-A60150C3FA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2F9F23-D0C6-6C3F-4E44-055ED163D2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217148-F2D0-9CF5-519D-EA4B17DF9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1283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3F046D-FDEA-472A-3520-468D41F96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9E9FE7-5AC5-EBD7-6DB7-24A48A3B38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CB4074-A8FD-05BD-4049-0BACBD58CE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92DFB0-98F1-79CF-4B44-053401D9C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193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075B1A-1F9C-543C-9C7D-3BC51BE5E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168EE0-5737-3EAE-4535-646D366BD5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5C3727-3DFD-418D-5DD9-51E5518E3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B02D68-497F-BE78-FD56-47BF400E95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709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2B3465-1794-3EBA-EEC0-16168F2D8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5665BC-0994-42B0-6DFB-BB85BC2E3D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0073F0-8BB5-BF2F-C55A-F98BB468E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36754-9B7F-8801-2186-9E394E13F5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235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82760-FB28-3D15-3A5F-E8CC3A778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EDA1E4-5169-CD07-B1AE-40E1C01F6F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F0674C-6DC2-0ABB-310F-7057EB194B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596D6-DD0A-6D5B-88A4-2C59AD8DD5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3009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973C1-7142-8D33-7CD1-F4AC9C554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58E4B0-94EC-4B37-E69C-45FED32080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C3955-C2F0-2FE6-4017-62C74A29CB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1E0C0-1DA8-19B9-ED1F-3C60632FD3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1648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6159A0-8290-BEB4-D50D-1A63E2719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45BFB1-4B57-31E3-0D3E-5B8423CB57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21ADC-6E31-1200-F365-0EC46988E4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73272-72DD-1A25-CBD1-B3B0148FF9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39138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EC173-A207-15B5-A6FD-03A1BD30B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341E38-F08A-9E94-AAB7-01DF559E00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846EDF-AF0A-9CD1-CE51-B8760BA045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9E7387-72ED-C56C-5462-3EA9F8E82C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6EB14-7BC9-BF4C-8728-4B186E00EA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11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580B3-9934-7BE8-EBD4-90A37E7C93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E4BD31-DDAF-6160-735C-7F9D8B6308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A07128-929C-C5B5-A182-3350D0EA93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414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B21B3-5446-7C46-3550-EC1D761371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67CFA-A724-4E14-8AB3-8CDADF79691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2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981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46354" y="2535173"/>
            <a:ext cx="2180590" cy="757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9535765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57990" y="296467"/>
            <a:ext cx="8317308" cy="95436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57990" y="1777482"/>
            <a:ext cx="5008328" cy="736282"/>
          </a:xfrm>
        </p:spPr>
        <p:txBody>
          <a:bodyPr lIns="91440" rIns="91440" anchor="b">
            <a:noAutofit/>
          </a:bodyPr>
          <a:lstStyle>
            <a:lvl1pPr marL="0" indent="0">
              <a:buNone/>
              <a:defRPr sz="2000" b="1" cap="none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7990" y="2678356"/>
            <a:ext cx="5008328" cy="3377211"/>
          </a:xfrm>
        </p:spPr>
        <p:txBody>
          <a:bodyPr>
            <a:no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515944" y="1777482"/>
            <a:ext cx="5008328" cy="736282"/>
          </a:xfrm>
        </p:spPr>
        <p:txBody>
          <a:bodyPr lIns="91440" rIns="91440" anchor="b">
            <a:noAutofit/>
          </a:bodyPr>
          <a:lstStyle>
            <a:lvl1pPr marL="0" indent="0">
              <a:buNone/>
              <a:defRPr sz="2000" b="1" cap="none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678355"/>
            <a:ext cx="5008328" cy="3377211"/>
          </a:xfrm>
        </p:spPr>
        <p:txBody>
          <a:bodyPr>
            <a:no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6312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440ABAD-D192-4C67-BA8F-907DF24D0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990" y="240422"/>
            <a:ext cx="9158274" cy="10104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2797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BD953A9B-B85F-449C-8877-5E34811FFC2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044873" y="539496"/>
            <a:ext cx="5204407" cy="2631149"/>
            <a:chOff x="2684099" y="1389816"/>
            <a:chExt cx="3380794" cy="1709200"/>
          </a:xfrm>
          <a:solidFill>
            <a:schemeClr val="bg2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38F717B-CF2F-4212-B2CD-1243CB904966}"/>
                </a:ext>
              </a:extLst>
            </p:cNvPr>
            <p:cNvSpPr/>
            <p:nvPr/>
          </p:nvSpPr>
          <p:spPr>
            <a:xfrm>
              <a:off x="3083548" y="1392746"/>
              <a:ext cx="2981345" cy="1507546"/>
            </a:xfrm>
            <a:custGeom>
              <a:avLst/>
              <a:gdLst>
                <a:gd name="connsiteX0" fmla="*/ 1854847 w 2981345"/>
                <a:gd name="connsiteY0" fmla="*/ 1318192 h 1507546"/>
                <a:gd name="connsiteX1" fmla="*/ 1492945 w 2981345"/>
                <a:gd name="connsiteY1" fmla="*/ 955525 h 1507546"/>
                <a:gd name="connsiteX2" fmla="*/ 1492945 w 2981345"/>
                <a:gd name="connsiteY2" fmla="*/ 955525 h 1507546"/>
                <a:gd name="connsiteX3" fmla="*/ 823681 w 2981345"/>
                <a:gd name="connsiteY3" fmla="*/ 286771 h 1507546"/>
                <a:gd name="connsiteX4" fmla="*/ -28 w 2981345"/>
                <a:gd name="connsiteY4" fmla="*/ 95881 h 1507546"/>
                <a:gd name="connsiteX5" fmla="*/ 995712 w 2981345"/>
                <a:gd name="connsiteY5" fmla="*/ 248797 h 1507546"/>
                <a:gd name="connsiteX6" fmla="*/ 1952203 w 2981345"/>
                <a:gd name="connsiteY6" fmla="*/ 1206563 h 1507546"/>
                <a:gd name="connsiteX7" fmla="*/ 2655363 w 2981345"/>
                <a:gd name="connsiteY7" fmla="*/ 1239185 h 1507546"/>
                <a:gd name="connsiteX8" fmla="*/ 2686813 w 2981345"/>
                <a:gd name="connsiteY8" fmla="*/ 515409 h 1507546"/>
                <a:gd name="connsiteX9" fmla="*/ 1998588 w 2981345"/>
                <a:gd name="connsiteY9" fmla="*/ 454215 h 1507546"/>
                <a:gd name="connsiteX10" fmla="*/ 1892056 w 2981345"/>
                <a:gd name="connsiteY10" fmla="*/ 556159 h 1507546"/>
                <a:gd name="connsiteX11" fmla="*/ 1728946 w 2981345"/>
                <a:gd name="connsiteY11" fmla="*/ 719525 h 1507546"/>
                <a:gd name="connsiteX12" fmla="*/ 1646881 w 2981345"/>
                <a:gd name="connsiteY12" fmla="*/ 719525 h 1507546"/>
                <a:gd name="connsiteX13" fmla="*/ 1583165 w 2981345"/>
                <a:gd name="connsiteY13" fmla="*/ 655554 h 1507546"/>
                <a:gd name="connsiteX14" fmla="*/ 1855102 w 2981345"/>
                <a:gd name="connsiteY14" fmla="*/ 383618 h 1507546"/>
                <a:gd name="connsiteX15" fmla="*/ 1898173 w 2981345"/>
                <a:gd name="connsiteY15" fmla="*/ 344370 h 1507546"/>
                <a:gd name="connsiteX16" fmla="*/ 2827624 w 2981345"/>
                <a:gd name="connsiteY16" fmla="*/ 427207 h 1507546"/>
                <a:gd name="connsiteX17" fmla="*/ 2818474 w 2981345"/>
                <a:gd name="connsiteY17" fmla="*/ 1284550 h 1507546"/>
                <a:gd name="connsiteX18" fmla="*/ 1854847 w 2981345"/>
                <a:gd name="connsiteY18" fmla="*/ 1318192 h 1507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81345" h="1507546">
                  <a:moveTo>
                    <a:pt x="1854847" y="1318192"/>
                  </a:moveTo>
                  <a:lnTo>
                    <a:pt x="1492945" y="955525"/>
                  </a:lnTo>
                  <a:lnTo>
                    <a:pt x="1492945" y="955525"/>
                  </a:lnTo>
                  <a:lnTo>
                    <a:pt x="823681" y="286771"/>
                  </a:lnTo>
                  <a:cubicBezTo>
                    <a:pt x="605319" y="76116"/>
                    <a:pt x="288734" y="2750"/>
                    <a:pt x="-28" y="95881"/>
                  </a:cubicBezTo>
                  <a:cubicBezTo>
                    <a:pt x="329810" y="-75177"/>
                    <a:pt x="732400" y="-13350"/>
                    <a:pt x="995712" y="248797"/>
                  </a:cubicBezTo>
                  <a:lnTo>
                    <a:pt x="1952203" y="1206563"/>
                  </a:lnTo>
                  <a:cubicBezTo>
                    <a:pt x="2142253" y="1399059"/>
                    <a:pt x="2448315" y="1413257"/>
                    <a:pt x="2655363" y="1239185"/>
                  </a:cubicBezTo>
                  <a:cubicBezTo>
                    <a:pt x="2863916" y="1048007"/>
                    <a:pt x="2877984" y="723959"/>
                    <a:pt x="2686813" y="515409"/>
                  </a:cubicBezTo>
                  <a:cubicBezTo>
                    <a:pt x="2507748" y="320084"/>
                    <a:pt x="2209307" y="293546"/>
                    <a:pt x="1998588" y="454215"/>
                  </a:cubicBezTo>
                  <a:lnTo>
                    <a:pt x="1892056" y="556159"/>
                  </a:lnTo>
                  <a:lnTo>
                    <a:pt x="1728946" y="719525"/>
                  </a:lnTo>
                  <a:cubicBezTo>
                    <a:pt x="1706263" y="742143"/>
                    <a:pt x="1669563" y="742143"/>
                    <a:pt x="1646881" y="719525"/>
                  </a:cubicBezTo>
                  <a:lnTo>
                    <a:pt x="1583165" y="655554"/>
                  </a:lnTo>
                  <a:lnTo>
                    <a:pt x="1855102" y="383618"/>
                  </a:lnTo>
                  <a:cubicBezTo>
                    <a:pt x="1868660" y="369680"/>
                    <a:pt x="1883034" y="356573"/>
                    <a:pt x="1898173" y="344370"/>
                  </a:cubicBezTo>
                  <a:cubicBezTo>
                    <a:pt x="2177704" y="110581"/>
                    <a:pt x="2593840" y="147668"/>
                    <a:pt x="2827624" y="427207"/>
                  </a:cubicBezTo>
                  <a:cubicBezTo>
                    <a:pt x="3035972" y="676305"/>
                    <a:pt x="3032073" y="1039958"/>
                    <a:pt x="2818474" y="1284550"/>
                  </a:cubicBezTo>
                  <a:cubicBezTo>
                    <a:pt x="2564124" y="1576366"/>
                    <a:pt x="2121176" y="1575601"/>
                    <a:pt x="1854847" y="1318192"/>
                  </a:cubicBezTo>
                  <a:close/>
                </a:path>
              </a:pathLst>
            </a:custGeom>
            <a:grpFill/>
            <a:ln w="25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7F764C5-9612-4BCC-8468-9A9D949340EC}"/>
                </a:ext>
              </a:extLst>
            </p:cNvPr>
            <p:cNvSpPr/>
            <p:nvPr/>
          </p:nvSpPr>
          <p:spPr>
            <a:xfrm>
              <a:off x="3092468" y="2158684"/>
              <a:ext cx="1162597" cy="940332"/>
            </a:xfrm>
            <a:custGeom>
              <a:avLst/>
              <a:gdLst>
                <a:gd name="connsiteX0" fmla="*/ 1143531 w 1162597"/>
                <a:gd name="connsiteY0" fmla="*/ 529826 h 940332"/>
                <a:gd name="connsiteX1" fmla="*/ 933526 w 1162597"/>
                <a:gd name="connsiteY1" fmla="*/ 739066 h 940332"/>
                <a:gd name="connsiteX2" fmla="*/ 538237 w 1162597"/>
                <a:gd name="connsiteY2" fmla="*/ 926134 h 940332"/>
                <a:gd name="connsiteX3" fmla="*/ -28 w 1162597"/>
                <a:gd name="connsiteY3" fmla="*/ 849676 h 940332"/>
                <a:gd name="connsiteX4" fmla="*/ 393731 w 1162597"/>
                <a:gd name="connsiteY4" fmla="*/ 875162 h 940332"/>
                <a:gd name="connsiteX5" fmla="*/ 765828 w 1162597"/>
                <a:gd name="connsiteY5" fmla="*/ 699053 h 940332"/>
                <a:gd name="connsiteX6" fmla="*/ 980420 w 1162597"/>
                <a:gd name="connsiteY6" fmla="*/ 484461 h 940332"/>
                <a:gd name="connsiteX7" fmla="*/ 572643 w 1162597"/>
                <a:gd name="connsiteY7" fmla="*/ 76684 h 940332"/>
                <a:gd name="connsiteX8" fmla="*/ 625654 w 1162597"/>
                <a:gd name="connsiteY8" fmla="*/ 20614 h 940332"/>
                <a:gd name="connsiteX9" fmla="*/ 724410 w 1162597"/>
                <a:gd name="connsiteY9" fmla="*/ 20229 h 940332"/>
                <a:gd name="connsiteX10" fmla="*/ 724795 w 1162597"/>
                <a:gd name="connsiteY10" fmla="*/ 20614 h 940332"/>
                <a:gd name="connsiteX11" fmla="*/ 1143531 w 1162597"/>
                <a:gd name="connsiteY11" fmla="*/ 438331 h 940332"/>
                <a:gd name="connsiteX12" fmla="*/ 1143839 w 1162597"/>
                <a:gd name="connsiteY12" fmla="*/ 529517 h 940332"/>
                <a:gd name="connsiteX13" fmla="*/ 1143531 w 1162597"/>
                <a:gd name="connsiteY13" fmla="*/ 529826 h 94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62597" h="940332">
                  <a:moveTo>
                    <a:pt x="1143531" y="529826"/>
                  </a:moveTo>
                  <a:lnTo>
                    <a:pt x="933526" y="739066"/>
                  </a:lnTo>
                  <a:cubicBezTo>
                    <a:pt x="820426" y="834973"/>
                    <a:pt x="684112" y="899483"/>
                    <a:pt x="538237" y="926134"/>
                  </a:cubicBezTo>
                  <a:cubicBezTo>
                    <a:pt x="355275" y="959849"/>
                    <a:pt x="166309" y="933007"/>
                    <a:pt x="-28" y="849676"/>
                  </a:cubicBezTo>
                  <a:cubicBezTo>
                    <a:pt x="127068" y="890754"/>
                    <a:pt x="262399" y="899514"/>
                    <a:pt x="393731" y="875162"/>
                  </a:cubicBezTo>
                  <a:cubicBezTo>
                    <a:pt x="531065" y="850117"/>
                    <a:pt x="659393" y="789381"/>
                    <a:pt x="765828" y="699053"/>
                  </a:cubicBezTo>
                  <a:lnTo>
                    <a:pt x="980420" y="484461"/>
                  </a:lnTo>
                  <a:lnTo>
                    <a:pt x="572643" y="76684"/>
                  </a:lnTo>
                  <a:lnTo>
                    <a:pt x="625654" y="20614"/>
                  </a:lnTo>
                  <a:cubicBezTo>
                    <a:pt x="652820" y="-6763"/>
                    <a:pt x="697033" y="-6934"/>
                    <a:pt x="724410" y="20229"/>
                  </a:cubicBezTo>
                  <a:cubicBezTo>
                    <a:pt x="724540" y="20357"/>
                    <a:pt x="724668" y="20487"/>
                    <a:pt x="724795" y="20614"/>
                  </a:cubicBezTo>
                  <a:lnTo>
                    <a:pt x="1143531" y="438331"/>
                  </a:lnTo>
                  <a:cubicBezTo>
                    <a:pt x="1168795" y="463427"/>
                    <a:pt x="1168933" y="504253"/>
                    <a:pt x="1143839" y="529517"/>
                  </a:cubicBezTo>
                  <a:cubicBezTo>
                    <a:pt x="1143737" y="529622"/>
                    <a:pt x="1143633" y="529724"/>
                    <a:pt x="1143531" y="529826"/>
                  </a:cubicBezTo>
                  <a:close/>
                </a:path>
              </a:pathLst>
            </a:custGeom>
            <a:grpFill/>
            <a:ln w="25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C3D367F-B7AB-4C09-8D3E-3ED462CC8209}"/>
                </a:ext>
              </a:extLst>
            </p:cNvPr>
            <p:cNvSpPr/>
            <p:nvPr/>
          </p:nvSpPr>
          <p:spPr>
            <a:xfrm>
              <a:off x="2684099" y="1589754"/>
              <a:ext cx="2978382" cy="1507368"/>
            </a:xfrm>
            <a:custGeom>
              <a:avLst/>
              <a:gdLst>
                <a:gd name="connsiteX0" fmla="*/ 2978354 w 2978382"/>
                <a:gd name="connsiteY0" fmla="*/ 1411979 h 1507368"/>
                <a:gd name="connsiteX1" fmla="*/ 1982614 w 2978382"/>
                <a:gd name="connsiteY1" fmla="*/ 1257279 h 1507368"/>
                <a:gd name="connsiteX2" fmla="*/ 1026377 w 2978382"/>
                <a:gd name="connsiteY2" fmla="*/ 301297 h 1507368"/>
                <a:gd name="connsiteX3" fmla="*/ 323472 w 2978382"/>
                <a:gd name="connsiteY3" fmla="*/ 267400 h 1507368"/>
                <a:gd name="connsiteX4" fmla="*/ 258992 w 2978382"/>
                <a:gd name="connsiteY4" fmla="*/ 988656 h 1507368"/>
                <a:gd name="connsiteX5" fmla="*/ 980248 w 2978382"/>
                <a:gd name="connsiteY5" fmla="*/ 1053135 h 1507368"/>
                <a:gd name="connsiteX6" fmla="*/ 830135 w 2978382"/>
                <a:gd name="connsiteY6" fmla="*/ 903278 h 1507368"/>
                <a:gd name="connsiteX7" fmla="*/ 829179 w 2978382"/>
                <a:gd name="connsiteY7" fmla="*/ 795153 h 1507368"/>
                <a:gd name="connsiteX8" fmla="*/ 830135 w 2978382"/>
                <a:gd name="connsiteY8" fmla="*/ 794197 h 1507368"/>
                <a:gd name="connsiteX9" fmla="*/ 881107 w 2978382"/>
                <a:gd name="connsiteY9" fmla="*/ 743225 h 1507368"/>
                <a:gd name="connsiteX10" fmla="*/ 1192037 w 2978382"/>
                <a:gd name="connsiteY10" fmla="*/ 1054155 h 1507368"/>
                <a:gd name="connsiteX11" fmla="*/ 1124499 w 2978382"/>
                <a:gd name="connsiteY11" fmla="*/ 1121693 h 1507368"/>
                <a:gd name="connsiteX12" fmla="*/ 1092641 w 2978382"/>
                <a:gd name="connsiteY12" fmla="*/ 1151257 h 1507368"/>
                <a:gd name="connsiteX13" fmla="*/ 1081172 w 2978382"/>
                <a:gd name="connsiteY13" fmla="*/ 1160942 h 1507368"/>
                <a:gd name="connsiteX14" fmla="*/ 152035 w 2978382"/>
                <a:gd name="connsiteY14" fmla="*/ 1074534 h 1507368"/>
                <a:gd name="connsiteX15" fmla="*/ 190435 w 2978382"/>
                <a:gd name="connsiteY15" fmla="*/ 189413 h 1507368"/>
                <a:gd name="connsiteX16" fmla="*/ 1123479 w 2978382"/>
                <a:gd name="connsiteY16" fmla="*/ 189413 h 1507368"/>
                <a:gd name="connsiteX17" fmla="*/ 1485636 w 2978382"/>
                <a:gd name="connsiteY17" fmla="*/ 552080 h 1507368"/>
                <a:gd name="connsiteX18" fmla="*/ 1485636 w 2978382"/>
                <a:gd name="connsiteY18" fmla="*/ 552080 h 1507368"/>
                <a:gd name="connsiteX19" fmla="*/ 2155410 w 2978382"/>
                <a:gd name="connsiteY19" fmla="*/ 1220579 h 1507368"/>
                <a:gd name="connsiteX20" fmla="*/ 2978354 w 2978382"/>
                <a:gd name="connsiteY20" fmla="*/ 1411979 h 150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8382" h="1507368">
                  <a:moveTo>
                    <a:pt x="2978354" y="1411979"/>
                  </a:moveTo>
                  <a:cubicBezTo>
                    <a:pt x="2648157" y="1582659"/>
                    <a:pt x="2245452" y="1520104"/>
                    <a:pt x="1982614" y="1257279"/>
                  </a:cubicBezTo>
                  <a:lnTo>
                    <a:pt x="1026377" y="301297"/>
                  </a:lnTo>
                  <a:cubicBezTo>
                    <a:pt x="836751" y="108454"/>
                    <a:pt x="530773" y="93700"/>
                    <a:pt x="323472" y="267400"/>
                  </a:cubicBezTo>
                  <a:cubicBezTo>
                    <a:pt x="106497" y="448764"/>
                    <a:pt x="77629" y="771680"/>
                    <a:pt x="258992" y="988656"/>
                  </a:cubicBezTo>
                  <a:cubicBezTo>
                    <a:pt x="440356" y="1205631"/>
                    <a:pt x="763272" y="1234499"/>
                    <a:pt x="980248" y="1053135"/>
                  </a:cubicBezTo>
                  <a:lnTo>
                    <a:pt x="830135" y="903278"/>
                  </a:lnTo>
                  <a:cubicBezTo>
                    <a:pt x="800013" y="873683"/>
                    <a:pt x="799585" y="825275"/>
                    <a:pt x="829179" y="795153"/>
                  </a:cubicBezTo>
                  <a:cubicBezTo>
                    <a:pt x="829495" y="794832"/>
                    <a:pt x="829814" y="794513"/>
                    <a:pt x="830135" y="794197"/>
                  </a:cubicBezTo>
                  <a:lnTo>
                    <a:pt x="881107" y="743225"/>
                  </a:lnTo>
                  <a:lnTo>
                    <a:pt x="1192037" y="1054155"/>
                  </a:lnTo>
                  <a:lnTo>
                    <a:pt x="1124499" y="1121693"/>
                  </a:lnTo>
                  <a:cubicBezTo>
                    <a:pt x="1114050" y="1131887"/>
                    <a:pt x="1103345" y="1141827"/>
                    <a:pt x="1092641" y="1151257"/>
                  </a:cubicBezTo>
                  <a:lnTo>
                    <a:pt x="1081172" y="1160942"/>
                  </a:lnTo>
                  <a:cubicBezTo>
                    <a:pt x="800737" y="1393655"/>
                    <a:pt x="384748" y="1354967"/>
                    <a:pt x="152035" y="1074534"/>
                  </a:cubicBezTo>
                  <a:cubicBezTo>
                    <a:pt x="-64589" y="813485"/>
                    <a:pt x="-47982" y="430720"/>
                    <a:pt x="190435" y="189413"/>
                  </a:cubicBezTo>
                  <a:cubicBezTo>
                    <a:pt x="448099" y="-68251"/>
                    <a:pt x="867344" y="-58056"/>
                    <a:pt x="1123479" y="189413"/>
                  </a:cubicBezTo>
                  <a:lnTo>
                    <a:pt x="1485636" y="552080"/>
                  </a:lnTo>
                  <a:lnTo>
                    <a:pt x="1485636" y="552080"/>
                  </a:lnTo>
                  <a:lnTo>
                    <a:pt x="2155410" y="1220579"/>
                  </a:lnTo>
                  <a:cubicBezTo>
                    <a:pt x="2373494" y="1431178"/>
                    <a:pt x="2689725" y="1504731"/>
                    <a:pt x="2978354" y="1411979"/>
                  </a:cubicBezTo>
                  <a:close/>
                </a:path>
              </a:pathLst>
            </a:custGeom>
            <a:grpFill/>
            <a:ln w="25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30792FE-02DB-4931-81BD-BEDD81A25A2A}"/>
                </a:ext>
              </a:extLst>
            </p:cNvPr>
            <p:cNvSpPr/>
            <p:nvPr/>
          </p:nvSpPr>
          <p:spPr>
            <a:xfrm>
              <a:off x="4491112" y="1389816"/>
              <a:ext cx="1163979" cy="561668"/>
            </a:xfrm>
            <a:custGeom>
              <a:avLst/>
              <a:gdLst>
                <a:gd name="connsiteX0" fmla="*/ 1163951 w 1163979"/>
                <a:gd name="connsiteY0" fmla="*/ 91420 h 561668"/>
                <a:gd name="connsiteX1" fmla="*/ 399369 w 1163979"/>
                <a:gd name="connsiteY1" fmla="*/ 241533 h 561668"/>
                <a:gd name="connsiteX2" fmla="*/ 314756 w 1163979"/>
                <a:gd name="connsiteY2" fmla="*/ 324617 h 561668"/>
                <a:gd name="connsiteX3" fmla="*/ 314756 w 1163979"/>
                <a:gd name="connsiteY3" fmla="*/ 324617 h 561668"/>
                <a:gd name="connsiteX4" fmla="*/ 77735 w 1163979"/>
                <a:gd name="connsiteY4" fmla="*/ 561637 h 561668"/>
                <a:gd name="connsiteX5" fmla="*/ 19117 w 1163979"/>
                <a:gd name="connsiteY5" fmla="*/ 503019 h 561668"/>
                <a:gd name="connsiteX6" fmla="*/ 18455 w 1163979"/>
                <a:gd name="connsiteY6" fmla="*/ 412195 h 561668"/>
                <a:gd name="connsiteX7" fmla="*/ 19117 w 1163979"/>
                <a:gd name="connsiteY7" fmla="*/ 411525 h 561668"/>
                <a:gd name="connsiteX8" fmla="*/ 228613 w 1163979"/>
                <a:gd name="connsiteY8" fmla="*/ 202029 h 561668"/>
                <a:gd name="connsiteX9" fmla="*/ 1163951 w 1163979"/>
                <a:gd name="connsiteY9" fmla="*/ 91420 h 56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3979" h="561668">
                  <a:moveTo>
                    <a:pt x="1163951" y="91420"/>
                  </a:moveTo>
                  <a:cubicBezTo>
                    <a:pt x="900247" y="6284"/>
                    <a:pt x="611311" y="63015"/>
                    <a:pt x="399369" y="241533"/>
                  </a:cubicBezTo>
                  <a:lnTo>
                    <a:pt x="314756" y="324617"/>
                  </a:lnTo>
                  <a:lnTo>
                    <a:pt x="314756" y="324617"/>
                  </a:lnTo>
                  <a:lnTo>
                    <a:pt x="77735" y="561637"/>
                  </a:lnTo>
                  <a:lnTo>
                    <a:pt x="19117" y="503019"/>
                  </a:lnTo>
                  <a:cubicBezTo>
                    <a:pt x="-6147" y="478125"/>
                    <a:pt x="-6448" y="437459"/>
                    <a:pt x="18455" y="412195"/>
                  </a:cubicBezTo>
                  <a:cubicBezTo>
                    <a:pt x="18658" y="411971"/>
                    <a:pt x="18888" y="411746"/>
                    <a:pt x="19117" y="411525"/>
                  </a:cubicBezTo>
                  <a:lnTo>
                    <a:pt x="228613" y="202029"/>
                  </a:lnTo>
                  <a:cubicBezTo>
                    <a:pt x="489896" y="-19289"/>
                    <a:pt x="858246" y="-62847"/>
                    <a:pt x="1163951" y="91420"/>
                  </a:cubicBezTo>
                  <a:close/>
                </a:path>
              </a:pathLst>
            </a:custGeom>
            <a:grpFill/>
            <a:ln w="25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199DE22-F210-4268-92A5-864A0CA1FA75}"/>
              </a:ext>
            </a:extLst>
          </p:cNvPr>
          <p:cNvSpPr/>
          <p:nvPr userDrawn="1"/>
        </p:nvSpPr>
        <p:spPr>
          <a:xfrm>
            <a:off x="1" y="4589806"/>
            <a:ext cx="12191997" cy="22681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891300"/>
            <a:ext cx="7589520" cy="3566160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600" b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854503"/>
            <a:ext cx="10058400" cy="1143000"/>
          </a:xfrm>
        </p:spPr>
        <p:txBody>
          <a:bodyPr lIns="91440" rIns="91440" anchor="t" anchorCtr="0">
            <a:noAutofit/>
          </a:bodyPr>
          <a:lstStyle>
            <a:lvl1pPr marL="0" indent="0">
              <a:buNone/>
              <a:defRPr sz="2400" cap="all" spc="200" baseline="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691CF43-30D2-407B-B3ED-E526FFB28BE2}"/>
              </a:ext>
            </a:extLst>
          </p:cNvPr>
          <p:cNvGrpSpPr/>
          <p:nvPr/>
        </p:nvGrpSpPr>
        <p:grpSpPr>
          <a:xfrm>
            <a:off x="0" y="0"/>
            <a:ext cx="178506" cy="6857999"/>
            <a:chOff x="0" y="0"/>
            <a:chExt cx="178506" cy="685799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9C6615-6F48-4410-8F0F-9E96556FAF04}"/>
                </a:ext>
              </a:extLst>
            </p:cNvPr>
            <p:cNvSpPr/>
            <p:nvPr/>
          </p:nvSpPr>
          <p:spPr>
            <a:xfrm>
              <a:off x="0" y="0"/>
              <a:ext cx="178506" cy="44805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908FCC4-825A-4EB0-B291-75A6CB8C58E2}"/>
                </a:ext>
              </a:extLst>
            </p:cNvPr>
            <p:cNvSpPr/>
            <p:nvPr/>
          </p:nvSpPr>
          <p:spPr>
            <a:xfrm>
              <a:off x="2" y="4589807"/>
              <a:ext cx="178500" cy="2268192"/>
            </a:xfrm>
            <a:prstGeom prst="rect">
              <a:avLst/>
            </a:prstGeom>
            <a:solidFill>
              <a:srgbClr val="304D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7EEFAC7-8FA9-46AE-BC3D-693E174841F6}"/>
              </a:ext>
            </a:extLst>
          </p:cNvPr>
          <p:cNvGrpSpPr/>
          <p:nvPr userDrawn="1"/>
        </p:nvGrpSpPr>
        <p:grpSpPr>
          <a:xfrm>
            <a:off x="0" y="-1"/>
            <a:ext cx="178502" cy="6858000"/>
            <a:chOff x="0" y="-1"/>
            <a:chExt cx="178502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93F2AD3-911B-4876-B7CA-5BCD34D4C7E8}"/>
                </a:ext>
              </a:extLst>
            </p:cNvPr>
            <p:cNvSpPr/>
            <p:nvPr/>
          </p:nvSpPr>
          <p:spPr>
            <a:xfrm>
              <a:off x="0" y="-1"/>
              <a:ext cx="178500" cy="458980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9998594-14FE-4CC6-8683-116BA6392C40}"/>
                </a:ext>
              </a:extLst>
            </p:cNvPr>
            <p:cNvSpPr/>
            <p:nvPr/>
          </p:nvSpPr>
          <p:spPr>
            <a:xfrm>
              <a:off x="2" y="4589807"/>
              <a:ext cx="178500" cy="2268192"/>
            </a:xfrm>
            <a:prstGeom prst="rect">
              <a:avLst/>
            </a:prstGeom>
            <a:solidFill>
              <a:srgbClr val="304D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79086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ower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412E5E9-C41D-4248-B6F5-483E25843258}"/>
              </a:ext>
            </a:extLst>
          </p:cNvPr>
          <p:cNvSpPr/>
          <p:nvPr/>
        </p:nvSpPr>
        <p:spPr>
          <a:xfrm>
            <a:off x="1" y="4589806"/>
            <a:ext cx="12191997" cy="22681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>
            <a:cxnSpLocks/>
          </p:cNvCxnSpPr>
          <p:nvPr/>
        </p:nvCxnSpPr>
        <p:spPr>
          <a:xfrm>
            <a:off x="0" y="4589807"/>
            <a:ext cx="12192000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0ACE56A-0EA2-4C2A-A78E-844FBE8F4F50}"/>
              </a:ext>
            </a:extLst>
          </p:cNvPr>
          <p:cNvGrpSpPr/>
          <p:nvPr/>
        </p:nvGrpSpPr>
        <p:grpSpPr>
          <a:xfrm>
            <a:off x="0" y="0"/>
            <a:ext cx="178506" cy="6857999"/>
            <a:chOff x="0" y="0"/>
            <a:chExt cx="178506" cy="6857999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6601C03-C6AB-418A-80AE-850C48263776}"/>
                </a:ext>
              </a:extLst>
            </p:cNvPr>
            <p:cNvSpPr/>
            <p:nvPr/>
          </p:nvSpPr>
          <p:spPr>
            <a:xfrm>
              <a:off x="0" y="0"/>
              <a:ext cx="178506" cy="44805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4C90BD60-B9B9-4449-89D7-877D0EC35343}"/>
                </a:ext>
              </a:extLst>
            </p:cNvPr>
            <p:cNvSpPr/>
            <p:nvPr/>
          </p:nvSpPr>
          <p:spPr>
            <a:xfrm>
              <a:off x="2" y="4589807"/>
              <a:ext cx="178500" cy="2268192"/>
            </a:xfrm>
            <a:prstGeom prst="rect">
              <a:avLst/>
            </a:prstGeom>
            <a:solidFill>
              <a:srgbClr val="304D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DDB6296-9F31-499C-9382-F230C51AA37C}"/>
              </a:ext>
            </a:extLst>
          </p:cNvPr>
          <p:cNvGrpSpPr/>
          <p:nvPr userDrawn="1"/>
        </p:nvGrpSpPr>
        <p:grpSpPr>
          <a:xfrm>
            <a:off x="0" y="-1"/>
            <a:ext cx="178502" cy="6858000"/>
            <a:chOff x="0" y="-1"/>
            <a:chExt cx="178502" cy="6858000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23251D0-C919-449B-8442-F547792DBDA9}"/>
                </a:ext>
              </a:extLst>
            </p:cNvPr>
            <p:cNvSpPr/>
            <p:nvPr/>
          </p:nvSpPr>
          <p:spPr>
            <a:xfrm>
              <a:off x="0" y="-1"/>
              <a:ext cx="178502" cy="458980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449E85F-2D35-4C91-A604-BFD19AE901AA}"/>
                </a:ext>
              </a:extLst>
            </p:cNvPr>
            <p:cNvSpPr/>
            <p:nvPr/>
          </p:nvSpPr>
          <p:spPr>
            <a:xfrm>
              <a:off x="2" y="4589807"/>
              <a:ext cx="178500" cy="2268192"/>
            </a:xfrm>
            <a:prstGeom prst="rect">
              <a:avLst/>
            </a:prstGeom>
            <a:solidFill>
              <a:srgbClr val="304D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2F28842D-9AA2-41AD-9C9E-921B5BF466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65795" y="667512"/>
            <a:ext cx="2570985" cy="143878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66543B-869C-4960-8C68-3A2B41C7D2C5}"/>
              </a:ext>
            </a:extLst>
          </p:cNvPr>
          <p:cNvSpPr txBox="1"/>
          <p:nvPr userDrawn="1"/>
        </p:nvSpPr>
        <p:spPr>
          <a:xfrm>
            <a:off x="1173482" y="3651473"/>
            <a:ext cx="71567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chemeClr val="tx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TI Energy develops innovative solutions that transform lives, economies, and the environ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73482" y="4854503"/>
            <a:ext cx="9982198" cy="1143000"/>
          </a:xfrm>
        </p:spPr>
        <p:txBody>
          <a:bodyPr lIns="91440" rIns="91440" anchor="t" anchorCtr="0">
            <a:noAutofit/>
          </a:bodyPr>
          <a:lstStyle>
            <a:lvl1pPr marL="0" indent="0">
              <a:buNone/>
              <a:defRPr sz="2400" cap="none" spc="0" baseline="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www.gti.energy</a:t>
            </a:r>
          </a:p>
        </p:txBody>
      </p:sp>
    </p:spTree>
    <p:extLst>
      <p:ext uri="{BB962C8B-B14F-4D97-AF65-F5344CB8AC3E}">
        <p14:creationId xmlns:p14="http://schemas.microsoft.com/office/powerpoint/2010/main" val="4270273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Gray Background">
    <p:bg>
      <p:bgPr>
        <a:solidFill>
          <a:srgbClr val="5C5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D001DF-C021-4178-8F2C-BF2019B82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326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D001DF-C021-4178-8F2C-BF2019B82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896A1E-DBFB-41D7-80C5-947A307683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26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896A1E-DBFB-41D7-80C5-947A30768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04641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74FF3-8B4E-1F6D-FADE-F09F9AF04B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261F75-0373-6887-B792-C7B9C832D9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51254B-A27E-CD6D-3D13-465F6326A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86FB17-52F0-0DF8-9D39-6812A77F8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1045C3-AB37-99F7-635D-B252DCEA1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9969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D0900-5C8C-3C10-17E6-47FC6B67A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64C08-F9AC-3EFE-49FA-5D1F8CD1D0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C5DE7-8BF1-F252-3266-847DD1E42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06E5B8-AA99-D246-5D3C-1FB25501C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A204C0-3A3C-439F-08C3-D5898F6F8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149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D5B46-4421-94C3-5234-34A4D7021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837569-6DED-1915-7904-4A86E88FF4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AB3CB-E278-236E-9709-87640E108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D915E5-1A23-5EFA-D1EB-EC392126D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A399D6-3DE4-71E2-DBAE-C3EF050A2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000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E86C4-EA6D-B9DB-0FA7-D4CEF9757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7525FF-972B-DC09-64ED-B23C465766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10E255-45C7-D933-018E-5F88EF5C86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6CD1E6-55D8-16B7-B6A8-2CF784924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912E86-3270-3A6A-6554-24939F62D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965AF0-DE92-BBAB-723E-8C0818202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1105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30833-A080-0891-DA83-DA50A1180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3097-67B1-70E6-5DA3-A513368CEC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BB1329-470E-B35C-D0D8-1E53F926F3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833696-A2C4-A5A5-5F5E-B5D5B82DAA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C445C3-8BC7-4B99-A221-CCEA844945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D5CBD7-C3F6-412E-2917-0E1A0C5AD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E8387B-BF0B-A2FC-34DF-045D9C54BC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A14245-AFCC-A181-8578-C36782945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692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1777280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DED18-F153-7846-7400-E528E1831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AA8E91-6333-7D43-D2FA-9BC48569D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A865E3-285C-B567-8AAF-FDDEC976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CD9927-F5D3-0D15-8CAF-B7C2190AA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973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969CBB-D96A-1F4E-63C5-911286571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759B70-C72B-C5BC-764A-3B2B4F8C9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ACC91A-0AF4-3DAB-0191-72DD35F34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315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1969D-D684-8297-9BF6-6FD8B9922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5824A-37BC-57D7-335B-17CBCF6A6D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CF9B59-1D47-7376-7A7F-4F766C62A5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B1BB9C-7984-24DE-FCE3-0EB33A34D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46CFDA-B33B-6089-67C4-4F9255E53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12EA98-0465-8EC7-6280-202702E1F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270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9D6A2-07CB-D421-C558-435925120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91326A4-8AE6-0373-D1CB-15426EFEE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657A8F-DF62-0488-6FE9-CF5D5FE39E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3629A7-CA78-BDC9-C105-03D92654E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4CB82B-F1E6-7110-FDDE-67F09CC62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A96D3E-2B20-7CED-BF7E-F6360C1C8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9835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2B30A-1FBA-F9A5-088C-AA6AA2D52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16B6CC-973B-A974-971B-0166583B99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C69D7A-60D7-9EBA-C836-863DE3844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3F518-E927-D580-EC22-DFF48DBA6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288D2A-27D5-5740-FA7D-10F054ACB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5868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2D027F6-D8AB-D6FF-D8F6-AC1EC6237C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744A8E-B895-18DD-0F1F-E2CF143622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5D914A-EA31-0123-8024-FD49EC7E6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009C23-1B76-F7C9-65E0-13B85DFEA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81B5EA-F9DD-0FF8-FA42-14AFC8A82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4748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>
            <a:lum/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B7CAF65-C565-5344-D191-2366EC398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2855278"/>
            <a:ext cx="3678872" cy="165576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orem ipsum dolor sit </a:t>
            </a:r>
          </a:p>
          <a:p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</a:p>
          <a:p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9A11BE-81C1-B91D-B3DE-C54D54942855}"/>
              </a:ext>
            </a:extLst>
          </p:cNvPr>
          <p:cNvCxnSpPr/>
          <p:nvPr userDrawn="1"/>
        </p:nvCxnSpPr>
        <p:spPr>
          <a:xfrm>
            <a:off x="1155005" y="2432368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AEC1A583-58B2-FF11-A04B-2B5404F565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767536"/>
            <a:ext cx="5609272" cy="1325563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41931898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492ACE3-D553-24F7-4DA7-29DBCFC055F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" y="0"/>
            <a:ext cx="8288866" cy="6857999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DB7CAF65-C565-5344-D191-2366EC398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2855278"/>
            <a:ext cx="3678872" cy="165576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orem ipsum dolor sit </a:t>
            </a:r>
          </a:p>
          <a:p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</a:p>
          <a:p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EC1A583-58B2-FF11-A04B-2B5404F565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767536"/>
            <a:ext cx="5609272" cy="1325563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Tit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011525-CFC6-06DE-15E0-576C9A74B3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5149" y="1"/>
            <a:ext cx="7316851" cy="6860945"/>
          </a:xfrm>
          <a:custGeom>
            <a:avLst/>
            <a:gdLst>
              <a:gd name="connsiteX0" fmla="*/ 3019972 w 7315200"/>
              <a:gd name="connsiteY0" fmla="*/ 0 h 6857998"/>
              <a:gd name="connsiteX1" fmla="*/ 7315200 w 7315200"/>
              <a:gd name="connsiteY1" fmla="*/ 0 h 6857998"/>
              <a:gd name="connsiteX2" fmla="*/ 7315200 w 7315200"/>
              <a:gd name="connsiteY2" fmla="*/ 6857998 h 6857998"/>
              <a:gd name="connsiteX3" fmla="*/ 0 w 7315200"/>
              <a:gd name="connsiteY3" fmla="*/ 6857998 h 6857998"/>
              <a:gd name="connsiteX4" fmla="*/ 0 w 7315200"/>
              <a:gd name="connsiteY4" fmla="*/ 6847881 h 6857998"/>
              <a:gd name="connsiteX5" fmla="*/ 20319 w 7315200"/>
              <a:gd name="connsiteY5" fmla="*/ 6847839 h 6857998"/>
              <a:gd name="connsiteX6" fmla="*/ 3104511 w 7315200"/>
              <a:gd name="connsiteY6" fmla="*/ 350232 h 6857998"/>
              <a:gd name="connsiteX0" fmla="*/ 3019972 w 7315200"/>
              <a:gd name="connsiteY0" fmla="*/ 0 h 6857998"/>
              <a:gd name="connsiteX1" fmla="*/ 7315200 w 7315200"/>
              <a:gd name="connsiteY1" fmla="*/ 0 h 6857998"/>
              <a:gd name="connsiteX2" fmla="*/ 7315200 w 7315200"/>
              <a:gd name="connsiteY2" fmla="*/ 6857998 h 6857998"/>
              <a:gd name="connsiteX3" fmla="*/ 0 w 7315200"/>
              <a:gd name="connsiteY3" fmla="*/ 6857998 h 6857998"/>
              <a:gd name="connsiteX4" fmla="*/ 0 w 7315200"/>
              <a:gd name="connsiteY4" fmla="*/ 6847881 h 6857998"/>
              <a:gd name="connsiteX5" fmla="*/ 20319 w 7315200"/>
              <a:gd name="connsiteY5" fmla="*/ 6847839 h 6857998"/>
              <a:gd name="connsiteX6" fmla="*/ 3104511 w 7315200"/>
              <a:gd name="connsiteY6" fmla="*/ 350232 h 6857998"/>
              <a:gd name="connsiteX7" fmla="*/ 3019972 w 7315200"/>
              <a:gd name="connsiteY7" fmla="*/ 0 h 6857998"/>
              <a:gd name="connsiteX0" fmla="*/ 3019972 w 7315200"/>
              <a:gd name="connsiteY0" fmla="*/ 0 h 6857998"/>
              <a:gd name="connsiteX1" fmla="*/ 7315200 w 7315200"/>
              <a:gd name="connsiteY1" fmla="*/ 0 h 6857998"/>
              <a:gd name="connsiteX2" fmla="*/ 7315200 w 7315200"/>
              <a:gd name="connsiteY2" fmla="*/ 6857998 h 6857998"/>
              <a:gd name="connsiteX3" fmla="*/ 0 w 7315200"/>
              <a:gd name="connsiteY3" fmla="*/ 6857998 h 6857998"/>
              <a:gd name="connsiteX4" fmla="*/ 0 w 7315200"/>
              <a:gd name="connsiteY4" fmla="*/ 6847881 h 6857998"/>
              <a:gd name="connsiteX5" fmla="*/ 58419 w 7315200"/>
              <a:gd name="connsiteY5" fmla="*/ 6627706 h 6857998"/>
              <a:gd name="connsiteX6" fmla="*/ 3104511 w 7315200"/>
              <a:gd name="connsiteY6" fmla="*/ 350232 h 6857998"/>
              <a:gd name="connsiteX7" fmla="*/ 3019972 w 7315200"/>
              <a:gd name="connsiteY7" fmla="*/ 0 h 6857998"/>
              <a:gd name="connsiteX0" fmla="*/ 3019972 w 7315200"/>
              <a:gd name="connsiteY0" fmla="*/ 0 h 6857998"/>
              <a:gd name="connsiteX1" fmla="*/ 7315200 w 7315200"/>
              <a:gd name="connsiteY1" fmla="*/ 0 h 6857998"/>
              <a:gd name="connsiteX2" fmla="*/ 7315200 w 7315200"/>
              <a:gd name="connsiteY2" fmla="*/ 6857998 h 6857998"/>
              <a:gd name="connsiteX3" fmla="*/ 0 w 7315200"/>
              <a:gd name="connsiteY3" fmla="*/ 6857998 h 6857998"/>
              <a:gd name="connsiteX4" fmla="*/ 58419 w 7315200"/>
              <a:gd name="connsiteY4" fmla="*/ 6627706 h 6857998"/>
              <a:gd name="connsiteX5" fmla="*/ 3104511 w 7315200"/>
              <a:gd name="connsiteY5" fmla="*/ 350232 h 6857998"/>
              <a:gd name="connsiteX6" fmla="*/ 3019972 w 7315200"/>
              <a:gd name="connsiteY6" fmla="*/ 0 h 6857998"/>
              <a:gd name="connsiteX0" fmla="*/ 2961553 w 7256781"/>
              <a:gd name="connsiteY0" fmla="*/ 0 h 6857998"/>
              <a:gd name="connsiteX1" fmla="*/ 7256781 w 7256781"/>
              <a:gd name="connsiteY1" fmla="*/ 0 h 6857998"/>
              <a:gd name="connsiteX2" fmla="*/ 7256781 w 7256781"/>
              <a:gd name="connsiteY2" fmla="*/ 6857998 h 6857998"/>
              <a:gd name="connsiteX3" fmla="*/ 0 w 7256781"/>
              <a:gd name="connsiteY3" fmla="*/ 6627706 h 6857998"/>
              <a:gd name="connsiteX4" fmla="*/ 3046092 w 7256781"/>
              <a:gd name="connsiteY4" fmla="*/ 350232 h 6857998"/>
              <a:gd name="connsiteX5" fmla="*/ 2961553 w 7256781"/>
              <a:gd name="connsiteY5" fmla="*/ 0 h 6857998"/>
              <a:gd name="connsiteX0" fmla="*/ 3021623 w 7316851"/>
              <a:gd name="connsiteY0" fmla="*/ 0 h 6874661"/>
              <a:gd name="connsiteX1" fmla="*/ 7316851 w 7316851"/>
              <a:gd name="connsiteY1" fmla="*/ 0 h 6874661"/>
              <a:gd name="connsiteX2" fmla="*/ 7316851 w 7316851"/>
              <a:gd name="connsiteY2" fmla="*/ 6857998 h 6874661"/>
              <a:gd name="connsiteX3" fmla="*/ 0 w 7316851"/>
              <a:gd name="connsiteY3" fmla="*/ 6874661 h 6874661"/>
              <a:gd name="connsiteX4" fmla="*/ 3106162 w 7316851"/>
              <a:gd name="connsiteY4" fmla="*/ 350232 h 6874661"/>
              <a:gd name="connsiteX5" fmla="*/ 3021623 w 7316851"/>
              <a:gd name="connsiteY5" fmla="*/ 0 h 6874661"/>
              <a:gd name="connsiteX0" fmla="*/ 3021623 w 7316851"/>
              <a:gd name="connsiteY0" fmla="*/ 0 h 6860945"/>
              <a:gd name="connsiteX1" fmla="*/ 7316851 w 7316851"/>
              <a:gd name="connsiteY1" fmla="*/ 0 h 6860945"/>
              <a:gd name="connsiteX2" fmla="*/ 7316851 w 7316851"/>
              <a:gd name="connsiteY2" fmla="*/ 6857998 h 6860945"/>
              <a:gd name="connsiteX3" fmla="*/ 0 w 7316851"/>
              <a:gd name="connsiteY3" fmla="*/ 6860945 h 6860945"/>
              <a:gd name="connsiteX4" fmla="*/ 3106162 w 7316851"/>
              <a:gd name="connsiteY4" fmla="*/ 350232 h 6860945"/>
              <a:gd name="connsiteX5" fmla="*/ 3021623 w 7316851"/>
              <a:gd name="connsiteY5" fmla="*/ 0 h 6860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16851" h="6860945">
                <a:moveTo>
                  <a:pt x="3021623" y="0"/>
                </a:moveTo>
                <a:lnTo>
                  <a:pt x="7316851" y="0"/>
                </a:lnTo>
                <a:lnTo>
                  <a:pt x="7316851" y="6857998"/>
                </a:lnTo>
                <a:lnTo>
                  <a:pt x="0" y="6860945"/>
                </a:lnTo>
                <a:cubicBezTo>
                  <a:pt x="285433" y="4774335"/>
                  <a:pt x="3832833" y="3889463"/>
                  <a:pt x="3106162" y="350232"/>
                </a:cubicBezTo>
                <a:lnTo>
                  <a:pt x="3021623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r">
              <a:defRPr/>
            </a:lvl1pPr>
          </a:lstStyle>
          <a:p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D9B3DA6-91E3-F2C0-3942-D5007FDD399D}"/>
              </a:ext>
            </a:extLst>
          </p:cNvPr>
          <p:cNvCxnSpPr/>
          <p:nvPr userDrawn="1"/>
        </p:nvCxnSpPr>
        <p:spPr>
          <a:xfrm>
            <a:off x="1155005" y="2432368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4389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0B9B34-5E0B-C9B8-BAA2-F7FE64270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FC1EA5-D951-F0DF-37D3-C39C736BF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6FB90-AAEA-1240-A021-12A11C842B2A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9E5BF-04AD-F49B-4B8A-3E298309A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F9694-CA0E-3248-37A5-272FAD363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A392D69-3DDC-2302-F76F-F6E72B9171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55688" y="2168525"/>
            <a:ext cx="4765992" cy="36247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DA18405-D3FF-182A-955C-AB6949F3403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70322" y="2168525"/>
            <a:ext cx="5013958" cy="36247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67BE7D-38D4-CA22-6B74-CEBB6CB8CD06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6619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0B9B34-5E0B-C9B8-BAA2-F7FE64270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365125"/>
            <a:ext cx="4765992" cy="1325563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FC1EA5-D951-F0DF-37D3-C39C736BF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6FB90-AAEA-1240-A021-12A11C842B2A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9E5BF-04AD-F49B-4B8A-3E298309A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F9694-CA0E-3248-37A5-272FAD363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A392D69-3DDC-2302-F76F-F6E72B9171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55688" y="2168525"/>
            <a:ext cx="4765992" cy="36247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67BE7D-38D4-CA22-6B74-CEBB6CB8CD06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49CE5B-B9AD-8E05-DBDB-8208C9B916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6838" y="1030151"/>
            <a:ext cx="4906962" cy="3842786"/>
          </a:xfrm>
          <a:prstGeom prst="round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1184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8866967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0B9B34-5E0B-C9B8-BAA2-F7FE64270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2F0D5C-ED97-FBF8-9B3E-5C8F9605F6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FC1EA5-D951-F0DF-37D3-C39C736BF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308CD-0F6D-3A44-9E70-5F0F8A124103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9E5BF-04AD-F49B-4B8A-3E298309A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F9694-CA0E-3248-37A5-272FAD363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4157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3AE50-CDBD-3887-9766-514108B29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709738"/>
            <a:ext cx="10291762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D39E30-D94B-183A-40DF-F66F615D57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4589463"/>
            <a:ext cx="10291762" cy="118141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BB8057-8524-5679-EE50-AF49C6163C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84A91-DC8A-5841-B038-B338D47FC084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808A11-E05C-6D97-DB73-9D2D261C4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3AA92-3DB1-3F52-DE16-C9BC33761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529FC26-1499-0741-D9FB-E018F0E582C8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6356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BAB33-CB5F-BB68-57FB-21A3642D9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F4108-09A4-F57E-89FD-6C18811052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5688" y="2168525"/>
            <a:ext cx="4964112" cy="360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70EE6F-2597-1CCE-F1CF-23FD138417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8525"/>
            <a:ext cx="5181600" cy="360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78E6E6-9AC7-9E1D-27FA-7B665233B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D8FDF-B7D3-4F41-A25B-922D5DD2E1D3}" type="datetime1">
              <a:rPr lang="en-CA" smtClean="0"/>
              <a:t>2026-05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A962FD-25EF-FCF9-C082-D2C5694C8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CA627E-F1B3-0574-0050-A43907AFF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9096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8909EF-6CB7-E047-FF87-CFF752ADB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365125"/>
            <a:ext cx="10299699" cy="1325563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C49181-3F83-6A50-C035-483920F59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2168525"/>
            <a:ext cx="4941887" cy="863917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6E7CF9-9528-7A1E-8914-AD5E06B89D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8" y="3184842"/>
            <a:ext cx="4941887" cy="2584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0DD981-B340-02FE-078B-009212EA27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168525"/>
            <a:ext cx="5183188" cy="863917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0D390-28CE-B021-C9D1-5747201818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184842"/>
            <a:ext cx="5183188" cy="2584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9DCB0C-7C2D-4E6C-D400-88D87E12F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CAF49-B166-EB4A-94AE-B9CBBFDAEADB}" type="datetime1">
              <a:rPr lang="en-CA" smtClean="0"/>
              <a:t>2026-05-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A5FCD8-B9AB-94E4-AECA-BB97B1C42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94321A-6418-B854-41C3-97DF03B8C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4DB672-9E2F-56C4-BC67-F26B6526675A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5655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EBB2B-4A9A-9BB8-2485-3686ADD0F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3B5686-83EA-22EC-F7C8-F4019386F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EE537-0159-6F44-81E3-76A156C66713}" type="datetime1">
              <a:rPr lang="en-CA" smtClean="0"/>
              <a:t>2026-05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4366E-A954-72F6-5B84-22936AE6F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343595-550B-61BF-2087-DAB429C98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573162B-9CF9-1895-043A-4570BCE6FCF7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1658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15F9F1-064D-2384-3E6A-1603F0101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4E924-63CC-4B42-B5B4-3314CDF308A5}" type="datetime1">
              <a:rPr lang="en-CA" smtClean="0"/>
              <a:t>2026-05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9DDDBD-5049-A391-DE4C-23171BE6A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091CB-5FF4-A06C-3569-D8198AF38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5268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31DB8-F6BC-6F74-E325-6ECBED61A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457200"/>
            <a:ext cx="3716337" cy="125507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11A933-2B87-1695-CE46-8C0B7BEE6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7815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A60C45-3C05-04C4-D031-A994F9B08D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55688" y="2157412"/>
            <a:ext cx="3716337" cy="363582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17938C-57E2-15D0-0607-CC8FD316E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71EBA-04C7-E548-830B-43E31EBE5BC4}" type="datetime1">
              <a:rPr lang="en-CA" smtClean="0"/>
              <a:t>2026-05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107F7A-51B2-3ED7-8708-B508B824A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D1A7CD-19A7-0818-3D78-17FBA4E9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0CADE0E-8E21-1048-60EF-BCE25A2D934F}"/>
              </a:ext>
            </a:extLst>
          </p:cNvPr>
          <p:cNvCxnSpPr/>
          <p:nvPr userDrawn="1"/>
        </p:nvCxnSpPr>
        <p:spPr>
          <a:xfrm>
            <a:off x="1145496" y="1206807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9634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CD0EE-7C48-15CD-BF43-B43B0398E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457200"/>
            <a:ext cx="3716337" cy="12430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DE4BFC-1757-C418-3338-CBF15122E9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5F692-21F9-FACD-497A-A007769B78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55688" y="2168525"/>
            <a:ext cx="3716337" cy="3700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A2FF83-C4E7-CB39-F2BC-6E7767E52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58627-627B-184C-A597-D1AE549D5482}" type="datetime1">
              <a:rPr lang="en-CA" smtClean="0"/>
              <a:t>2026-05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0A4DF7-B2BC-DF87-5F16-E34DF4E6B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1012E9-243F-9A8D-DA16-2FCE2B0BC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F600B7B-CE80-8D07-4482-A8F67F073D6C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067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D926A-B8D1-DCFD-1200-DC36D098B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07DF43-2FB7-3BF6-6AF4-F93A0F7E3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C977AD-230D-9400-352B-89329CABEC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E9DD8-E413-6C4F-AABB-0AA574B3ED92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91AB20-C212-358B-12CB-DBE56C04F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CA3E4-3F8C-2259-A927-DC866DD2B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C81A8F-F5DF-C5FF-CBBD-0B3D5C7E44BA}"/>
              </a:ext>
            </a:extLst>
          </p:cNvPr>
          <p:cNvCxnSpPr/>
          <p:nvPr userDrawn="1"/>
        </p:nvCxnSpPr>
        <p:spPr>
          <a:xfrm>
            <a:off x="1145496" y="1916113"/>
            <a:ext cx="1239520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89206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C7F644-9E7E-8F66-C637-8966601C35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B2FCB4-56D3-CD79-5CC5-286BDE65FF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B9EEFA-0874-8C2F-73BE-CFD1BF91F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3E3BD-241E-6F4E-B126-ACA1659E88DD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C5A47C-D93D-984E-E43B-39C366E0A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194E2-AE98-C5B9-197C-D4ADF3DFC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16F40-713B-854C-87D7-432543553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460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603855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418061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oub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C0CEED5-C5B8-4CFF-A103-2DE242640DC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8506" y="2848760"/>
            <a:ext cx="4543372" cy="4017714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701842" y="3747705"/>
            <a:ext cx="5022368" cy="13255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sz="4000" spc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01842" y="5614016"/>
            <a:ext cx="5022368" cy="57553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pc="0">
                <a:solidFill>
                  <a:schemeClr val="tx1">
                    <a:lumMod val="75000"/>
                  </a:schemeClr>
                </a:solidFill>
              </a:defRPr>
            </a:lvl1pPr>
            <a:lvl3pPr marL="1143000" indent="-228600">
              <a:buClr>
                <a:schemeClr val="tx2"/>
              </a:buClr>
              <a:buFont typeface="Calibri" panose="020F0502020204030204" pitchFamily="34" charset="0"/>
              <a:buChar char="–"/>
              <a:defRPr/>
            </a:lvl3pPr>
            <a:lvl5pPr marL="2057400" indent="-228600">
              <a:buClr>
                <a:schemeClr val="tx2"/>
              </a:buClr>
              <a:buFont typeface="Calibri" panose="020F0502020204030204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382B875-4CD5-4321-B43D-0F108F719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861" y="0"/>
            <a:ext cx="7470121" cy="284876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4557539-DDE9-4CF2-89D8-54FE128EE885}"/>
              </a:ext>
            </a:extLst>
          </p:cNvPr>
          <p:cNvGrpSpPr/>
          <p:nvPr userDrawn="1"/>
        </p:nvGrpSpPr>
        <p:grpSpPr>
          <a:xfrm>
            <a:off x="0" y="0"/>
            <a:ext cx="178506" cy="6861498"/>
            <a:chOff x="0" y="0"/>
            <a:chExt cx="178506" cy="6861498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D47D31C-6E10-422B-862A-BD97D2FDF04A}"/>
                </a:ext>
              </a:extLst>
            </p:cNvPr>
            <p:cNvSpPr/>
            <p:nvPr/>
          </p:nvSpPr>
          <p:spPr>
            <a:xfrm>
              <a:off x="0" y="2843784"/>
              <a:ext cx="178506" cy="40177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20128E2-5DA8-4302-B5B2-A5C8040B2459}"/>
                </a:ext>
              </a:extLst>
            </p:cNvPr>
            <p:cNvSpPr/>
            <p:nvPr userDrawn="1"/>
          </p:nvSpPr>
          <p:spPr>
            <a:xfrm>
              <a:off x="1" y="0"/>
              <a:ext cx="178505" cy="28487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7FDEDF2F-4306-400D-9001-262A7ABB0D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6684" y="694944"/>
            <a:ext cx="2433346" cy="136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034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stacke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159">
            <a:extLst>
              <a:ext uri="{FF2B5EF4-FFF2-40B4-BE49-F238E27FC236}">
                <a16:creationId xmlns:a16="http://schemas.microsoft.com/office/drawing/2014/main" id="{90E3C8A4-9392-40A1-87C9-775652BB1129}"/>
              </a:ext>
            </a:extLst>
          </p:cNvPr>
          <p:cNvSpPr/>
          <p:nvPr userDrawn="1"/>
        </p:nvSpPr>
        <p:spPr>
          <a:xfrm>
            <a:off x="1" y="2272746"/>
            <a:ext cx="12191999" cy="45852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934317" y="3259691"/>
            <a:ext cx="5309465" cy="13255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sz="44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34317" y="5681791"/>
            <a:ext cx="7242529" cy="575532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pc="0"/>
            </a:lvl1pPr>
            <a:lvl3pPr marL="1143000" indent="-228600">
              <a:buClr>
                <a:schemeClr val="tx2"/>
              </a:buClr>
              <a:buFont typeface="Calibri" panose="020F0502020204030204" pitchFamily="34" charset="0"/>
              <a:buChar char="–"/>
              <a:defRPr/>
            </a:lvl3pPr>
            <a:lvl5pPr marL="2057400" indent="-228600">
              <a:buClr>
                <a:schemeClr val="tx2"/>
              </a:buClr>
              <a:buFont typeface="Calibri" panose="020F0502020204030204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EAB9776E-E6C2-4285-B679-F83740A4A1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537068" y="0"/>
            <a:ext cx="4654296" cy="2286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4BAD18F2-F0C2-4FD8-950C-5A28025669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37068" y="2286000"/>
            <a:ext cx="4654296" cy="2286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2FE3DA97-6CCE-426F-94B0-1DB9B1199E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7068" y="4572000"/>
            <a:ext cx="4654296" cy="2286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80DA0E3-076E-4E7A-875B-F4612768D10C}"/>
              </a:ext>
            </a:extLst>
          </p:cNvPr>
          <p:cNvGrpSpPr/>
          <p:nvPr userDrawn="1"/>
        </p:nvGrpSpPr>
        <p:grpSpPr>
          <a:xfrm flipV="1">
            <a:off x="0" y="0"/>
            <a:ext cx="178506" cy="6857998"/>
            <a:chOff x="0" y="0"/>
            <a:chExt cx="178506" cy="6857998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FCBC7E1-BE16-409C-B88F-0DBEAD8280AA}"/>
                </a:ext>
              </a:extLst>
            </p:cNvPr>
            <p:cNvSpPr/>
            <p:nvPr userDrawn="1"/>
          </p:nvSpPr>
          <p:spPr>
            <a:xfrm>
              <a:off x="0" y="0"/>
              <a:ext cx="178506" cy="45852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4DD8F07-DAF7-4911-AED9-2A0D46F33BF4}"/>
                </a:ext>
              </a:extLst>
            </p:cNvPr>
            <p:cNvSpPr/>
            <p:nvPr userDrawn="1"/>
          </p:nvSpPr>
          <p:spPr>
            <a:xfrm>
              <a:off x="0" y="4585257"/>
              <a:ext cx="178506" cy="22727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57A05952-7645-44F2-9098-DFAD243849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21923" y="539496"/>
            <a:ext cx="2060890" cy="1153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67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990" y="240422"/>
            <a:ext cx="9158274" cy="10104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7990" y="1735494"/>
            <a:ext cx="10397690" cy="413359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6793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7990" y="437206"/>
            <a:ext cx="8457267" cy="8136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7989" y="1847462"/>
            <a:ext cx="4989667" cy="4217436"/>
          </a:xfrm>
        </p:spPr>
        <p:txBody>
          <a:bodyPr>
            <a:noAutofit/>
          </a:bodyPr>
          <a:lstStyle>
            <a:lvl1pPr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2612" y="1847461"/>
            <a:ext cx="4989667" cy="4217437"/>
          </a:xfrm>
        </p:spPr>
        <p:txBody>
          <a:bodyPr>
            <a:noAutofit/>
          </a:bodyPr>
          <a:lstStyle>
            <a:lvl1pPr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391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94208" y="54356"/>
            <a:ext cx="11295507" cy="36857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21257" y="1468755"/>
            <a:ext cx="10149840" cy="13804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1/20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657456" y="6464223"/>
            <a:ext cx="179704" cy="1397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08B38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95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69474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03B9774-DE66-420C-B463-70169987CFBC}"/>
              </a:ext>
            </a:extLst>
          </p:cNvPr>
          <p:cNvSpPr/>
          <p:nvPr userDrawn="1"/>
        </p:nvSpPr>
        <p:spPr>
          <a:xfrm>
            <a:off x="-1" y="0"/>
            <a:ext cx="12192001" cy="125083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7990" y="240422"/>
            <a:ext cx="8818983" cy="101041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7990" y="1608343"/>
            <a:ext cx="10058400" cy="426074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B49D37-E34C-4498-BAB3-F497D9C47DA5}"/>
              </a:ext>
            </a:extLst>
          </p:cNvPr>
          <p:cNvSpPr/>
          <p:nvPr/>
        </p:nvSpPr>
        <p:spPr>
          <a:xfrm>
            <a:off x="0" y="0"/>
            <a:ext cx="99613" cy="125083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144B9D3-32E6-4E2B-849B-0B9EDF9722A2}"/>
              </a:ext>
            </a:extLst>
          </p:cNvPr>
          <p:cNvSpPr/>
          <p:nvPr/>
        </p:nvSpPr>
        <p:spPr>
          <a:xfrm>
            <a:off x="-1" y="1316830"/>
            <a:ext cx="99613" cy="55411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19BC41-532C-4C9B-A25B-B6023B9D0F59}"/>
              </a:ext>
            </a:extLst>
          </p:cNvPr>
          <p:cNvSpPr/>
          <p:nvPr/>
        </p:nvSpPr>
        <p:spPr>
          <a:xfrm>
            <a:off x="0" y="0"/>
            <a:ext cx="99613" cy="125083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8641FC3-1D29-4834-8E4F-6967708D7E93}"/>
              </a:ext>
            </a:extLst>
          </p:cNvPr>
          <p:cNvSpPr/>
          <p:nvPr/>
        </p:nvSpPr>
        <p:spPr>
          <a:xfrm>
            <a:off x="-1" y="1316830"/>
            <a:ext cx="99613" cy="5541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CB8D382-C246-4CA1-B7EC-6B98FA0EAF49}"/>
              </a:ext>
            </a:extLst>
          </p:cNvPr>
          <p:cNvSpPr/>
          <p:nvPr userDrawn="1"/>
        </p:nvSpPr>
        <p:spPr>
          <a:xfrm>
            <a:off x="0" y="0"/>
            <a:ext cx="99613" cy="125083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650A090-B81E-44B1-BF8E-30BAB5DA4AB3}"/>
              </a:ext>
            </a:extLst>
          </p:cNvPr>
          <p:cNvSpPr/>
          <p:nvPr userDrawn="1"/>
        </p:nvSpPr>
        <p:spPr>
          <a:xfrm>
            <a:off x="-1" y="1250836"/>
            <a:ext cx="99613" cy="56071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D5DFA0B-3488-4C7C-91C9-E974F06B8C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101149" y="292608"/>
            <a:ext cx="1563624" cy="692583"/>
            <a:chOff x="4029075" y="2501901"/>
            <a:chExt cx="4089401" cy="181133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D7694A0-B7DD-42E2-ADCE-D007047E8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3713" y="2501901"/>
              <a:ext cx="1800225" cy="982663"/>
            </a:xfrm>
            <a:custGeom>
              <a:avLst/>
              <a:gdLst>
                <a:gd name="T0" fmla="*/ 292 w 477"/>
                <a:gd name="T1" fmla="*/ 218 h 259"/>
                <a:gd name="T2" fmla="*/ 235 w 477"/>
                <a:gd name="T3" fmla="*/ 161 h 259"/>
                <a:gd name="T4" fmla="*/ 235 w 477"/>
                <a:gd name="T5" fmla="*/ 162 h 259"/>
                <a:gd name="T6" fmla="*/ 130 w 477"/>
                <a:gd name="T7" fmla="*/ 57 h 259"/>
                <a:gd name="T8" fmla="*/ 0 w 477"/>
                <a:gd name="T9" fmla="*/ 27 h 259"/>
                <a:gd name="T10" fmla="*/ 157 w 477"/>
                <a:gd name="T11" fmla="*/ 51 h 259"/>
                <a:gd name="T12" fmla="*/ 307 w 477"/>
                <a:gd name="T13" fmla="*/ 201 h 259"/>
                <a:gd name="T14" fmla="*/ 417 w 477"/>
                <a:gd name="T15" fmla="*/ 206 h 259"/>
                <a:gd name="T16" fmla="*/ 422 w 477"/>
                <a:gd name="T17" fmla="*/ 88 h 259"/>
                <a:gd name="T18" fmla="*/ 314 w 477"/>
                <a:gd name="T19" fmla="*/ 83 h 259"/>
                <a:gd name="T20" fmla="*/ 297 w 477"/>
                <a:gd name="T21" fmla="*/ 99 h 259"/>
                <a:gd name="T22" fmla="*/ 272 w 477"/>
                <a:gd name="T23" fmla="*/ 125 h 259"/>
                <a:gd name="T24" fmla="*/ 259 w 477"/>
                <a:gd name="T25" fmla="*/ 125 h 259"/>
                <a:gd name="T26" fmla="*/ 249 w 477"/>
                <a:gd name="T27" fmla="*/ 115 h 259"/>
                <a:gd name="T28" fmla="*/ 292 w 477"/>
                <a:gd name="T29" fmla="*/ 72 h 259"/>
                <a:gd name="T30" fmla="*/ 298 w 477"/>
                <a:gd name="T31" fmla="*/ 66 h 259"/>
                <a:gd name="T32" fmla="*/ 444 w 477"/>
                <a:gd name="T33" fmla="*/ 78 h 259"/>
                <a:gd name="T34" fmla="*/ 443 w 477"/>
                <a:gd name="T35" fmla="*/ 213 h 259"/>
                <a:gd name="T36" fmla="*/ 292 w 477"/>
                <a:gd name="T37" fmla="*/ 21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7" h="259">
                  <a:moveTo>
                    <a:pt x="292" y="218"/>
                  </a:moveTo>
                  <a:cubicBezTo>
                    <a:pt x="291" y="218"/>
                    <a:pt x="261" y="187"/>
                    <a:pt x="235" y="161"/>
                  </a:cubicBezTo>
                  <a:cubicBezTo>
                    <a:pt x="235" y="162"/>
                    <a:pt x="235" y="162"/>
                    <a:pt x="235" y="162"/>
                  </a:cubicBezTo>
                  <a:cubicBezTo>
                    <a:pt x="235" y="162"/>
                    <a:pt x="130" y="57"/>
                    <a:pt x="130" y="57"/>
                  </a:cubicBezTo>
                  <a:cubicBezTo>
                    <a:pt x="94" y="23"/>
                    <a:pt x="44" y="12"/>
                    <a:pt x="0" y="27"/>
                  </a:cubicBezTo>
                  <a:cubicBezTo>
                    <a:pt x="51" y="0"/>
                    <a:pt x="114" y="9"/>
                    <a:pt x="157" y="51"/>
                  </a:cubicBezTo>
                  <a:cubicBezTo>
                    <a:pt x="307" y="201"/>
                    <a:pt x="307" y="201"/>
                    <a:pt x="307" y="201"/>
                  </a:cubicBezTo>
                  <a:cubicBezTo>
                    <a:pt x="337" y="231"/>
                    <a:pt x="385" y="234"/>
                    <a:pt x="417" y="206"/>
                  </a:cubicBezTo>
                  <a:cubicBezTo>
                    <a:pt x="453" y="175"/>
                    <a:pt x="454" y="121"/>
                    <a:pt x="422" y="88"/>
                  </a:cubicBezTo>
                  <a:cubicBezTo>
                    <a:pt x="393" y="59"/>
                    <a:pt x="346" y="57"/>
                    <a:pt x="314" y="83"/>
                  </a:cubicBezTo>
                  <a:cubicBezTo>
                    <a:pt x="297" y="99"/>
                    <a:pt x="297" y="99"/>
                    <a:pt x="297" y="99"/>
                  </a:cubicBezTo>
                  <a:cubicBezTo>
                    <a:pt x="272" y="125"/>
                    <a:pt x="272" y="125"/>
                    <a:pt x="272" y="125"/>
                  </a:cubicBezTo>
                  <a:cubicBezTo>
                    <a:pt x="268" y="128"/>
                    <a:pt x="262" y="128"/>
                    <a:pt x="259" y="125"/>
                  </a:cubicBezTo>
                  <a:cubicBezTo>
                    <a:pt x="249" y="115"/>
                    <a:pt x="249" y="115"/>
                    <a:pt x="249" y="115"/>
                  </a:cubicBezTo>
                  <a:cubicBezTo>
                    <a:pt x="292" y="72"/>
                    <a:pt x="292" y="72"/>
                    <a:pt x="292" y="72"/>
                  </a:cubicBezTo>
                  <a:cubicBezTo>
                    <a:pt x="294" y="70"/>
                    <a:pt x="296" y="68"/>
                    <a:pt x="298" y="66"/>
                  </a:cubicBezTo>
                  <a:cubicBezTo>
                    <a:pt x="341" y="30"/>
                    <a:pt x="406" y="34"/>
                    <a:pt x="444" y="78"/>
                  </a:cubicBezTo>
                  <a:cubicBezTo>
                    <a:pt x="477" y="117"/>
                    <a:pt x="476" y="175"/>
                    <a:pt x="443" y="213"/>
                  </a:cubicBezTo>
                  <a:cubicBezTo>
                    <a:pt x="403" y="259"/>
                    <a:pt x="333" y="259"/>
                    <a:pt x="292" y="218"/>
                  </a:cubicBezTo>
                  <a:close/>
                </a:path>
              </a:pathLst>
            </a:custGeom>
            <a:gradFill flip="none" rotWithShape="1">
              <a:gsLst>
                <a:gs pos="39000">
                  <a:schemeClr val="accent3"/>
                </a:gs>
                <a:gs pos="54000">
                  <a:schemeClr val="accent6"/>
                </a:gs>
                <a:gs pos="80000">
                  <a:schemeClr val="accent1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DD548D2-43EC-4687-B263-90FC35F8AF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1650" y="2998789"/>
              <a:ext cx="690563" cy="573088"/>
            </a:xfrm>
            <a:custGeom>
              <a:avLst/>
              <a:gdLst>
                <a:gd name="T0" fmla="*/ 179 w 183"/>
                <a:gd name="T1" fmla="*/ 84 h 151"/>
                <a:gd name="T2" fmla="*/ 146 w 183"/>
                <a:gd name="T3" fmla="*/ 117 h 151"/>
                <a:gd name="T4" fmla="*/ 84 w 183"/>
                <a:gd name="T5" fmla="*/ 146 h 151"/>
                <a:gd name="T6" fmla="*/ 0 w 183"/>
                <a:gd name="T7" fmla="*/ 134 h 151"/>
                <a:gd name="T8" fmla="*/ 62 w 183"/>
                <a:gd name="T9" fmla="*/ 138 h 151"/>
                <a:gd name="T10" fmla="*/ 120 w 183"/>
                <a:gd name="T11" fmla="*/ 110 h 151"/>
                <a:gd name="T12" fmla="*/ 154 w 183"/>
                <a:gd name="T13" fmla="*/ 77 h 151"/>
                <a:gd name="T14" fmla="*/ 90 w 183"/>
                <a:gd name="T15" fmla="*/ 13 h 151"/>
                <a:gd name="T16" fmla="*/ 98 w 183"/>
                <a:gd name="T17" fmla="*/ 4 h 151"/>
                <a:gd name="T18" fmla="*/ 114 w 183"/>
                <a:gd name="T19" fmla="*/ 4 h 151"/>
                <a:gd name="T20" fmla="*/ 179 w 183"/>
                <a:gd name="T21" fmla="*/ 70 h 151"/>
                <a:gd name="T22" fmla="*/ 179 w 183"/>
                <a:gd name="T23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151">
                  <a:moveTo>
                    <a:pt x="179" y="84"/>
                  </a:moveTo>
                  <a:cubicBezTo>
                    <a:pt x="146" y="117"/>
                    <a:pt x="146" y="117"/>
                    <a:pt x="146" y="117"/>
                  </a:cubicBezTo>
                  <a:cubicBezTo>
                    <a:pt x="129" y="132"/>
                    <a:pt x="107" y="142"/>
                    <a:pt x="84" y="146"/>
                  </a:cubicBezTo>
                  <a:cubicBezTo>
                    <a:pt x="55" y="151"/>
                    <a:pt x="26" y="147"/>
                    <a:pt x="0" y="134"/>
                  </a:cubicBezTo>
                  <a:cubicBezTo>
                    <a:pt x="20" y="140"/>
                    <a:pt x="41" y="142"/>
                    <a:pt x="62" y="138"/>
                  </a:cubicBezTo>
                  <a:cubicBezTo>
                    <a:pt x="83" y="134"/>
                    <a:pt x="103" y="125"/>
                    <a:pt x="120" y="110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102" y="0"/>
                    <a:pt x="109" y="0"/>
                    <a:pt x="114" y="4"/>
                  </a:cubicBezTo>
                  <a:cubicBezTo>
                    <a:pt x="179" y="70"/>
                    <a:pt x="179" y="70"/>
                    <a:pt x="179" y="70"/>
                  </a:cubicBezTo>
                  <a:cubicBezTo>
                    <a:pt x="183" y="73"/>
                    <a:pt x="183" y="80"/>
                    <a:pt x="179" y="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D496C34-CE0F-4514-A7A1-E6CB623C0F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9075" y="2624139"/>
              <a:ext cx="1803400" cy="977900"/>
            </a:xfrm>
            <a:custGeom>
              <a:avLst/>
              <a:gdLst>
                <a:gd name="T0" fmla="*/ 478 w 478"/>
                <a:gd name="T1" fmla="*/ 232 h 258"/>
                <a:gd name="T2" fmla="*/ 322 w 478"/>
                <a:gd name="T3" fmla="*/ 208 h 258"/>
                <a:gd name="T4" fmla="*/ 172 w 478"/>
                <a:gd name="T5" fmla="*/ 58 h 258"/>
                <a:gd name="T6" fmla="*/ 61 w 478"/>
                <a:gd name="T7" fmla="*/ 52 h 258"/>
                <a:gd name="T8" fmla="*/ 57 w 478"/>
                <a:gd name="T9" fmla="*/ 170 h 258"/>
                <a:gd name="T10" fmla="*/ 165 w 478"/>
                <a:gd name="T11" fmla="*/ 176 h 258"/>
                <a:gd name="T12" fmla="*/ 141 w 478"/>
                <a:gd name="T13" fmla="*/ 152 h 258"/>
                <a:gd name="T14" fmla="*/ 141 w 478"/>
                <a:gd name="T15" fmla="*/ 135 h 258"/>
                <a:gd name="T16" fmla="*/ 149 w 478"/>
                <a:gd name="T17" fmla="*/ 127 h 258"/>
                <a:gd name="T18" fmla="*/ 198 w 478"/>
                <a:gd name="T19" fmla="*/ 176 h 258"/>
                <a:gd name="T20" fmla="*/ 187 w 478"/>
                <a:gd name="T21" fmla="*/ 187 h 258"/>
                <a:gd name="T22" fmla="*/ 182 w 478"/>
                <a:gd name="T23" fmla="*/ 191 h 258"/>
                <a:gd name="T24" fmla="*/ 180 w 478"/>
                <a:gd name="T25" fmla="*/ 193 h 258"/>
                <a:gd name="T26" fmla="*/ 41 w 478"/>
                <a:gd name="T27" fmla="*/ 187 h 258"/>
                <a:gd name="T28" fmla="*/ 41 w 478"/>
                <a:gd name="T29" fmla="*/ 40 h 258"/>
                <a:gd name="T30" fmla="*/ 187 w 478"/>
                <a:gd name="T31" fmla="*/ 40 h 258"/>
                <a:gd name="T32" fmla="*/ 244 w 478"/>
                <a:gd name="T33" fmla="*/ 97 h 258"/>
                <a:gd name="T34" fmla="*/ 244 w 478"/>
                <a:gd name="T35" fmla="*/ 97 h 258"/>
                <a:gd name="T36" fmla="*/ 349 w 478"/>
                <a:gd name="T37" fmla="*/ 202 h 258"/>
                <a:gd name="T38" fmla="*/ 478 w 478"/>
                <a:gd name="T39" fmla="*/ 23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8" h="258">
                  <a:moveTo>
                    <a:pt x="478" y="232"/>
                  </a:moveTo>
                  <a:cubicBezTo>
                    <a:pt x="428" y="258"/>
                    <a:pt x="364" y="250"/>
                    <a:pt x="322" y="208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42" y="28"/>
                    <a:pt x="94" y="25"/>
                    <a:pt x="61" y="52"/>
                  </a:cubicBezTo>
                  <a:cubicBezTo>
                    <a:pt x="26" y="83"/>
                    <a:pt x="24" y="138"/>
                    <a:pt x="57" y="170"/>
                  </a:cubicBezTo>
                  <a:cubicBezTo>
                    <a:pt x="86" y="199"/>
                    <a:pt x="133" y="202"/>
                    <a:pt x="165" y="176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36" y="147"/>
                    <a:pt x="136" y="140"/>
                    <a:pt x="141" y="135"/>
                  </a:cubicBezTo>
                  <a:cubicBezTo>
                    <a:pt x="149" y="127"/>
                    <a:pt x="149" y="127"/>
                    <a:pt x="149" y="127"/>
                  </a:cubicBezTo>
                  <a:cubicBezTo>
                    <a:pt x="198" y="176"/>
                    <a:pt x="198" y="176"/>
                    <a:pt x="198" y="176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5" y="188"/>
                    <a:pt x="184" y="190"/>
                    <a:pt x="182" y="191"/>
                  </a:cubicBezTo>
                  <a:cubicBezTo>
                    <a:pt x="181" y="192"/>
                    <a:pt x="181" y="192"/>
                    <a:pt x="180" y="193"/>
                  </a:cubicBezTo>
                  <a:cubicBezTo>
                    <a:pt x="140" y="227"/>
                    <a:pt x="79" y="225"/>
                    <a:pt x="41" y="187"/>
                  </a:cubicBezTo>
                  <a:cubicBezTo>
                    <a:pt x="0" y="146"/>
                    <a:pt x="0" y="81"/>
                    <a:pt x="41" y="40"/>
                  </a:cubicBezTo>
                  <a:cubicBezTo>
                    <a:pt x="81" y="0"/>
                    <a:pt x="147" y="1"/>
                    <a:pt x="187" y="40"/>
                  </a:cubicBezTo>
                  <a:cubicBezTo>
                    <a:pt x="188" y="41"/>
                    <a:pt x="217" y="70"/>
                    <a:pt x="244" y="97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44" y="97"/>
                    <a:pt x="348" y="201"/>
                    <a:pt x="349" y="202"/>
                  </a:cubicBezTo>
                  <a:cubicBezTo>
                    <a:pt x="384" y="236"/>
                    <a:pt x="435" y="246"/>
                    <a:pt x="478" y="23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46000">
                  <a:schemeClr val="accent6"/>
                </a:gs>
                <a:gs pos="67000">
                  <a:schemeClr val="accent1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50B64395-0D25-4857-A188-7E49E69E0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33975" y="2532064"/>
              <a:ext cx="693738" cy="346075"/>
            </a:xfrm>
            <a:custGeom>
              <a:avLst/>
              <a:gdLst>
                <a:gd name="T0" fmla="*/ 184 w 184"/>
                <a:gd name="T1" fmla="*/ 17 h 91"/>
                <a:gd name="T2" fmla="*/ 122 w 184"/>
                <a:gd name="T3" fmla="*/ 13 h 91"/>
                <a:gd name="T4" fmla="*/ 64 w 184"/>
                <a:gd name="T5" fmla="*/ 41 h 91"/>
                <a:gd name="T6" fmla="*/ 51 w 184"/>
                <a:gd name="T7" fmla="*/ 54 h 91"/>
                <a:gd name="T8" fmla="*/ 51 w 184"/>
                <a:gd name="T9" fmla="*/ 54 h 91"/>
                <a:gd name="T10" fmla="*/ 13 w 184"/>
                <a:gd name="T11" fmla="*/ 91 h 91"/>
                <a:gd name="T12" fmla="*/ 4 w 184"/>
                <a:gd name="T13" fmla="*/ 82 h 91"/>
                <a:gd name="T14" fmla="*/ 4 w 184"/>
                <a:gd name="T15" fmla="*/ 68 h 91"/>
                <a:gd name="T16" fmla="*/ 37 w 184"/>
                <a:gd name="T17" fmla="*/ 35 h 91"/>
                <a:gd name="T18" fmla="*/ 100 w 184"/>
                <a:gd name="T19" fmla="*/ 5 h 91"/>
                <a:gd name="T20" fmla="*/ 184 w 184"/>
                <a:gd name="T21" fmla="*/ 1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91">
                  <a:moveTo>
                    <a:pt x="184" y="17"/>
                  </a:moveTo>
                  <a:cubicBezTo>
                    <a:pt x="164" y="11"/>
                    <a:pt x="143" y="10"/>
                    <a:pt x="122" y="13"/>
                  </a:cubicBezTo>
                  <a:cubicBezTo>
                    <a:pt x="101" y="17"/>
                    <a:pt x="81" y="26"/>
                    <a:pt x="64" y="41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0" y="78"/>
                    <a:pt x="0" y="72"/>
                    <a:pt x="4" y="68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55" y="20"/>
                    <a:pt x="77" y="9"/>
                    <a:pt x="100" y="5"/>
                  </a:cubicBezTo>
                  <a:cubicBezTo>
                    <a:pt x="129" y="0"/>
                    <a:pt x="158" y="4"/>
                    <a:pt x="184" y="1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11852D2-84E0-4AE4-A9B6-2FD3F14FAE25}"/>
                </a:ext>
              </a:extLst>
            </p:cNvPr>
            <p:cNvGrpSpPr/>
            <p:nvPr userDrawn="1"/>
          </p:nvGrpSpPr>
          <p:grpSpPr>
            <a:xfrm>
              <a:off x="4067175" y="3892551"/>
              <a:ext cx="4051301" cy="420688"/>
              <a:chOff x="4067175" y="3892551"/>
              <a:chExt cx="4051301" cy="420688"/>
            </a:xfrm>
            <a:solidFill>
              <a:schemeClr val="accent1"/>
            </a:solidFill>
          </p:grpSpPr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5D04E1C6-E9FF-49DE-9154-C7217B3689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7175" y="3892551"/>
                <a:ext cx="392113" cy="420688"/>
              </a:xfrm>
              <a:custGeom>
                <a:avLst/>
                <a:gdLst>
                  <a:gd name="T0" fmla="*/ 83 w 104"/>
                  <a:gd name="T1" fmla="*/ 54 h 111"/>
                  <a:gd name="T2" fmla="*/ 102 w 104"/>
                  <a:gd name="T3" fmla="*/ 54 h 111"/>
                  <a:gd name="T4" fmla="*/ 102 w 104"/>
                  <a:gd name="T5" fmla="*/ 97 h 111"/>
                  <a:gd name="T6" fmla="*/ 59 w 104"/>
                  <a:gd name="T7" fmla="*/ 111 h 111"/>
                  <a:gd name="T8" fmla="*/ 0 w 104"/>
                  <a:gd name="T9" fmla="*/ 55 h 111"/>
                  <a:gd name="T10" fmla="*/ 60 w 104"/>
                  <a:gd name="T11" fmla="*/ 0 h 111"/>
                  <a:gd name="T12" fmla="*/ 104 w 104"/>
                  <a:gd name="T13" fmla="*/ 18 h 111"/>
                  <a:gd name="T14" fmla="*/ 91 w 104"/>
                  <a:gd name="T15" fmla="*/ 30 h 111"/>
                  <a:gd name="T16" fmla="*/ 61 w 104"/>
                  <a:gd name="T17" fmla="*/ 18 h 111"/>
                  <a:gd name="T18" fmla="*/ 21 w 104"/>
                  <a:gd name="T19" fmla="*/ 55 h 111"/>
                  <a:gd name="T20" fmla="*/ 60 w 104"/>
                  <a:gd name="T21" fmla="*/ 93 h 111"/>
                  <a:gd name="T22" fmla="*/ 83 w 104"/>
                  <a:gd name="T23" fmla="*/ 88 h 111"/>
                  <a:gd name="T24" fmla="*/ 83 w 104"/>
                  <a:gd name="T25" fmla="*/ 5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4" h="111">
                    <a:moveTo>
                      <a:pt x="83" y="54"/>
                    </a:moveTo>
                    <a:cubicBezTo>
                      <a:pt x="102" y="54"/>
                      <a:pt x="102" y="54"/>
                      <a:pt x="102" y="54"/>
                    </a:cubicBezTo>
                    <a:cubicBezTo>
                      <a:pt x="102" y="97"/>
                      <a:pt x="102" y="97"/>
                      <a:pt x="102" y="97"/>
                    </a:cubicBezTo>
                    <a:cubicBezTo>
                      <a:pt x="91" y="106"/>
                      <a:pt x="75" y="111"/>
                      <a:pt x="59" y="111"/>
                    </a:cubicBezTo>
                    <a:cubicBezTo>
                      <a:pt x="25" y="111"/>
                      <a:pt x="0" y="88"/>
                      <a:pt x="0" y="55"/>
                    </a:cubicBezTo>
                    <a:cubicBezTo>
                      <a:pt x="0" y="23"/>
                      <a:pt x="25" y="0"/>
                      <a:pt x="60" y="0"/>
                    </a:cubicBezTo>
                    <a:cubicBezTo>
                      <a:pt x="78" y="0"/>
                      <a:pt x="93" y="6"/>
                      <a:pt x="104" y="18"/>
                    </a:cubicBezTo>
                    <a:cubicBezTo>
                      <a:pt x="91" y="30"/>
                      <a:pt x="91" y="30"/>
                      <a:pt x="91" y="30"/>
                    </a:cubicBezTo>
                    <a:cubicBezTo>
                      <a:pt x="82" y="22"/>
                      <a:pt x="72" y="18"/>
                      <a:pt x="61" y="18"/>
                    </a:cubicBezTo>
                    <a:cubicBezTo>
                      <a:pt x="37" y="18"/>
                      <a:pt x="21" y="33"/>
                      <a:pt x="21" y="55"/>
                    </a:cubicBezTo>
                    <a:cubicBezTo>
                      <a:pt x="21" y="77"/>
                      <a:pt x="37" y="93"/>
                      <a:pt x="60" y="93"/>
                    </a:cubicBezTo>
                    <a:cubicBezTo>
                      <a:pt x="68" y="93"/>
                      <a:pt x="76" y="92"/>
                      <a:pt x="83" y="88"/>
                    </a:cubicBezTo>
                    <a:lnTo>
                      <a:pt x="83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EACB6443-1895-4FC3-A48E-C670384DC6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5963" y="3900489"/>
                <a:ext cx="350838" cy="406400"/>
              </a:xfrm>
              <a:custGeom>
                <a:avLst/>
                <a:gdLst>
                  <a:gd name="T0" fmla="*/ 86 w 221"/>
                  <a:gd name="T1" fmla="*/ 41 h 256"/>
                  <a:gd name="T2" fmla="*/ 0 w 221"/>
                  <a:gd name="T3" fmla="*/ 41 h 256"/>
                  <a:gd name="T4" fmla="*/ 0 w 221"/>
                  <a:gd name="T5" fmla="*/ 0 h 256"/>
                  <a:gd name="T6" fmla="*/ 221 w 221"/>
                  <a:gd name="T7" fmla="*/ 0 h 256"/>
                  <a:gd name="T8" fmla="*/ 221 w 221"/>
                  <a:gd name="T9" fmla="*/ 41 h 256"/>
                  <a:gd name="T10" fmla="*/ 134 w 221"/>
                  <a:gd name="T11" fmla="*/ 41 h 256"/>
                  <a:gd name="T12" fmla="*/ 134 w 221"/>
                  <a:gd name="T13" fmla="*/ 256 h 256"/>
                  <a:gd name="T14" fmla="*/ 86 w 221"/>
                  <a:gd name="T15" fmla="*/ 256 h 256"/>
                  <a:gd name="T16" fmla="*/ 86 w 221"/>
                  <a:gd name="T17" fmla="*/ 4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1" h="256">
                    <a:moveTo>
                      <a:pt x="86" y="41"/>
                    </a:moveTo>
                    <a:lnTo>
                      <a:pt x="0" y="41"/>
                    </a:lnTo>
                    <a:lnTo>
                      <a:pt x="0" y="0"/>
                    </a:lnTo>
                    <a:lnTo>
                      <a:pt x="221" y="0"/>
                    </a:lnTo>
                    <a:lnTo>
                      <a:pt x="221" y="41"/>
                    </a:lnTo>
                    <a:lnTo>
                      <a:pt x="134" y="41"/>
                    </a:lnTo>
                    <a:lnTo>
                      <a:pt x="134" y="256"/>
                    </a:lnTo>
                    <a:lnTo>
                      <a:pt x="86" y="256"/>
                    </a:lnTo>
                    <a:lnTo>
                      <a:pt x="86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1CA868AF-3612-40DB-8867-4EFE0BF930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79988" y="3900489"/>
                <a:ext cx="74613" cy="406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E0EF4E79-388D-4FCD-A4B3-4D8837C6A5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0363" y="3900489"/>
                <a:ext cx="307975" cy="406400"/>
              </a:xfrm>
              <a:custGeom>
                <a:avLst/>
                <a:gdLst>
                  <a:gd name="T0" fmla="*/ 194 w 194"/>
                  <a:gd name="T1" fmla="*/ 215 h 256"/>
                  <a:gd name="T2" fmla="*/ 194 w 194"/>
                  <a:gd name="T3" fmla="*/ 256 h 256"/>
                  <a:gd name="T4" fmla="*/ 0 w 194"/>
                  <a:gd name="T5" fmla="*/ 256 h 256"/>
                  <a:gd name="T6" fmla="*/ 0 w 194"/>
                  <a:gd name="T7" fmla="*/ 0 h 256"/>
                  <a:gd name="T8" fmla="*/ 190 w 194"/>
                  <a:gd name="T9" fmla="*/ 0 h 256"/>
                  <a:gd name="T10" fmla="*/ 190 w 194"/>
                  <a:gd name="T11" fmla="*/ 38 h 256"/>
                  <a:gd name="T12" fmla="*/ 47 w 194"/>
                  <a:gd name="T13" fmla="*/ 38 h 256"/>
                  <a:gd name="T14" fmla="*/ 47 w 194"/>
                  <a:gd name="T15" fmla="*/ 105 h 256"/>
                  <a:gd name="T16" fmla="*/ 173 w 194"/>
                  <a:gd name="T17" fmla="*/ 105 h 256"/>
                  <a:gd name="T18" fmla="*/ 173 w 194"/>
                  <a:gd name="T19" fmla="*/ 146 h 256"/>
                  <a:gd name="T20" fmla="*/ 47 w 194"/>
                  <a:gd name="T21" fmla="*/ 146 h 256"/>
                  <a:gd name="T22" fmla="*/ 47 w 194"/>
                  <a:gd name="T23" fmla="*/ 215 h 256"/>
                  <a:gd name="T24" fmla="*/ 194 w 194"/>
                  <a:gd name="T25" fmla="*/ 21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" h="256">
                    <a:moveTo>
                      <a:pt x="194" y="215"/>
                    </a:moveTo>
                    <a:lnTo>
                      <a:pt x="194" y="256"/>
                    </a:lnTo>
                    <a:lnTo>
                      <a:pt x="0" y="256"/>
                    </a:lnTo>
                    <a:lnTo>
                      <a:pt x="0" y="0"/>
                    </a:lnTo>
                    <a:lnTo>
                      <a:pt x="190" y="0"/>
                    </a:lnTo>
                    <a:lnTo>
                      <a:pt x="190" y="38"/>
                    </a:lnTo>
                    <a:lnTo>
                      <a:pt x="47" y="38"/>
                    </a:lnTo>
                    <a:lnTo>
                      <a:pt x="47" y="105"/>
                    </a:lnTo>
                    <a:lnTo>
                      <a:pt x="173" y="105"/>
                    </a:lnTo>
                    <a:lnTo>
                      <a:pt x="173" y="146"/>
                    </a:lnTo>
                    <a:lnTo>
                      <a:pt x="47" y="146"/>
                    </a:lnTo>
                    <a:lnTo>
                      <a:pt x="47" y="215"/>
                    </a:lnTo>
                    <a:lnTo>
                      <a:pt x="194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482860D8-E448-4C7E-A8A3-D28969B44E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81688" y="3900489"/>
                <a:ext cx="365125" cy="406400"/>
              </a:xfrm>
              <a:custGeom>
                <a:avLst/>
                <a:gdLst>
                  <a:gd name="T0" fmla="*/ 230 w 230"/>
                  <a:gd name="T1" fmla="*/ 0 h 256"/>
                  <a:gd name="T2" fmla="*/ 230 w 230"/>
                  <a:gd name="T3" fmla="*/ 256 h 256"/>
                  <a:gd name="T4" fmla="*/ 192 w 230"/>
                  <a:gd name="T5" fmla="*/ 256 h 256"/>
                  <a:gd name="T6" fmla="*/ 47 w 230"/>
                  <a:gd name="T7" fmla="*/ 81 h 256"/>
                  <a:gd name="T8" fmla="*/ 47 w 230"/>
                  <a:gd name="T9" fmla="*/ 256 h 256"/>
                  <a:gd name="T10" fmla="*/ 0 w 230"/>
                  <a:gd name="T11" fmla="*/ 256 h 256"/>
                  <a:gd name="T12" fmla="*/ 0 w 230"/>
                  <a:gd name="T13" fmla="*/ 0 h 256"/>
                  <a:gd name="T14" fmla="*/ 40 w 230"/>
                  <a:gd name="T15" fmla="*/ 0 h 256"/>
                  <a:gd name="T16" fmla="*/ 183 w 230"/>
                  <a:gd name="T17" fmla="*/ 172 h 256"/>
                  <a:gd name="T18" fmla="*/ 183 w 230"/>
                  <a:gd name="T19" fmla="*/ 0 h 256"/>
                  <a:gd name="T20" fmla="*/ 230 w 230"/>
                  <a:gd name="T21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0" h="256">
                    <a:moveTo>
                      <a:pt x="230" y="0"/>
                    </a:moveTo>
                    <a:lnTo>
                      <a:pt x="230" y="256"/>
                    </a:lnTo>
                    <a:lnTo>
                      <a:pt x="192" y="256"/>
                    </a:lnTo>
                    <a:lnTo>
                      <a:pt x="47" y="81"/>
                    </a:lnTo>
                    <a:lnTo>
                      <a:pt x="47" y="256"/>
                    </a:lnTo>
                    <a:lnTo>
                      <a:pt x="0" y="256"/>
                    </a:lnTo>
                    <a:lnTo>
                      <a:pt x="0" y="0"/>
                    </a:lnTo>
                    <a:lnTo>
                      <a:pt x="40" y="0"/>
                    </a:lnTo>
                    <a:lnTo>
                      <a:pt x="183" y="172"/>
                    </a:lnTo>
                    <a:lnTo>
                      <a:pt x="183" y="0"/>
                    </a:lnTo>
                    <a:lnTo>
                      <a:pt x="2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DA429485-05E9-4EEB-8862-CD3A087DC8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86513" y="3900489"/>
                <a:ext cx="312738" cy="406400"/>
              </a:xfrm>
              <a:custGeom>
                <a:avLst/>
                <a:gdLst>
                  <a:gd name="T0" fmla="*/ 197 w 197"/>
                  <a:gd name="T1" fmla="*/ 215 h 256"/>
                  <a:gd name="T2" fmla="*/ 197 w 197"/>
                  <a:gd name="T3" fmla="*/ 256 h 256"/>
                  <a:gd name="T4" fmla="*/ 0 w 197"/>
                  <a:gd name="T5" fmla="*/ 256 h 256"/>
                  <a:gd name="T6" fmla="*/ 0 w 197"/>
                  <a:gd name="T7" fmla="*/ 0 h 256"/>
                  <a:gd name="T8" fmla="*/ 192 w 197"/>
                  <a:gd name="T9" fmla="*/ 0 h 256"/>
                  <a:gd name="T10" fmla="*/ 192 w 197"/>
                  <a:gd name="T11" fmla="*/ 38 h 256"/>
                  <a:gd name="T12" fmla="*/ 50 w 197"/>
                  <a:gd name="T13" fmla="*/ 38 h 256"/>
                  <a:gd name="T14" fmla="*/ 50 w 197"/>
                  <a:gd name="T15" fmla="*/ 105 h 256"/>
                  <a:gd name="T16" fmla="*/ 176 w 197"/>
                  <a:gd name="T17" fmla="*/ 105 h 256"/>
                  <a:gd name="T18" fmla="*/ 176 w 197"/>
                  <a:gd name="T19" fmla="*/ 146 h 256"/>
                  <a:gd name="T20" fmla="*/ 50 w 197"/>
                  <a:gd name="T21" fmla="*/ 146 h 256"/>
                  <a:gd name="T22" fmla="*/ 50 w 197"/>
                  <a:gd name="T23" fmla="*/ 215 h 256"/>
                  <a:gd name="T24" fmla="*/ 197 w 197"/>
                  <a:gd name="T25" fmla="*/ 21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7" h="256">
                    <a:moveTo>
                      <a:pt x="197" y="215"/>
                    </a:moveTo>
                    <a:lnTo>
                      <a:pt x="197" y="256"/>
                    </a:lnTo>
                    <a:lnTo>
                      <a:pt x="0" y="256"/>
                    </a:lnTo>
                    <a:lnTo>
                      <a:pt x="0" y="0"/>
                    </a:lnTo>
                    <a:lnTo>
                      <a:pt x="192" y="0"/>
                    </a:lnTo>
                    <a:lnTo>
                      <a:pt x="192" y="38"/>
                    </a:lnTo>
                    <a:lnTo>
                      <a:pt x="50" y="38"/>
                    </a:lnTo>
                    <a:lnTo>
                      <a:pt x="50" y="105"/>
                    </a:lnTo>
                    <a:lnTo>
                      <a:pt x="176" y="105"/>
                    </a:lnTo>
                    <a:lnTo>
                      <a:pt x="176" y="146"/>
                    </a:lnTo>
                    <a:lnTo>
                      <a:pt x="50" y="146"/>
                    </a:lnTo>
                    <a:lnTo>
                      <a:pt x="50" y="215"/>
                    </a:lnTo>
                    <a:lnTo>
                      <a:pt x="197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E1FB7E03-824A-4051-9A8F-3E235C4064B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27838" y="3900489"/>
                <a:ext cx="354013" cy="406400"/>
              </a:xfrm>
              <a:custGeom>
                <a:avLst/>
                <a:gdLst>
                  <a:gd name="T0" fmla="*/ 72 w 94"/>
                  <a:gd name="T1" fmla="*/ 107 h 107"/>
                  <a:gd name="T2" fmla="*/ 50 w 94"/>
                  <a:gd name="T3" fmla="*/ 76 h 107"/>
                  <a:gd name="T4" fmla="*/ 46 w 94"/>
                  <a:gd name="T5" fmla="*/ 76 h 107"/>
                  <a:gd name="T6" fmla="*/ 21 w 94"/>
                  <a:gd name="T7" fmla="*/ 76 h 107"/>
                  <a:gd name="T8" fmla="*/ 21 w 94"/>
                  <a:gd name="T9" fmla="*/ 107 h 107"/>
                  <a:gd name="T10" fmla="*/ 0 w 94"/>
                  <a:gd name="T11" fmla="*/ 107 h 107"/>
                  <a:gd name="T12" fmla="*/ 0 w 94"/>
                  <a:gd name="T13" fmla="*/ 0 h 107"/>
                  <a:gd name="T14" fmla="*/ 46 w 94"/>
                  <a:gd name="T15" fmla="*/ 0 h 107"/>
                  <a:gd name="T16" fmla="*/ 92 w 94"/>
                  <a:gd name="T17" fmla="*/ 38 h 107"/>
                  <a:gd name="T18" fmla="*/ 69 w 94"/>
                  <a:gd name="T19" fmla="*/ 72 h 107"/>
                  <a:gd name="T20" fmla="*/ 94 w 94"/>
                  <a:gd name="T21" fmla="*/ 107 h 107"/>
                  <a:gd name="T22" fmla="*/ 72 w 94"/>
                  <a:gd name="T23" fmla="*/ 107 h 107"/>
                  <a:gd name="T24" fmla="*/ 45 w 94"/>
                  <a:gd name="T25" fmla="*/ 17 h 107"/>
                  <a:gd name="T26" fmla="*/ 21 w 94"/>
                  <a:gd name="T27" fmla="*/ 17 h 107"/>
                  <a:gd name="T28" fmla="*/ 21 w 94"/>
                  <a:gd name="T29" fmla="*/ 59 h 107"/>
                  <a:gd name="T30" fmla="*/ 45 w 94"/>
                  <a:gd name="T31" fmla="*/ 59 h 107"/>
                  <a:gd name="T32" fmla="*/ 72 w 94"/>
                  <a:gd name="T33" fmla="*/ 38 h 107"/>
                  <a:gd name="T34" fmla="*/ 45 w 94"/>
                  <a:gd name="T35" fmla="*/ 1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4" h="107">
                    <a:moveTo>
                      <a:pt x="72" y="107"/>
                    </a:moveTo>
                    <a:cubicBezTo>
                      <a:pt x="50" y="76"/>
                      <a:pt x="50" y="76"/>
                      <a:pt x="50" y="76"/>
                    </a:cubicBezTo>
                    <a:cubicBezTo>
                      <a:pt x="48" y="76"/>
                      <a:pt x="47" y="76"/>
                      <a:pt x="46" y="76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74" y="0"/>
                      <a:pt x="92" y="14"/>
                      <a:pt x="92" y="38"/>
                    </a:cubicBezTo>
                    <a:cubicBezTo>
                      <a:pt x="92" y="54"/>
                      <a:pt x="84" y="66"/>
                      <a:pt x="69" y="72"/>
                    </a:cubicBezTo>
                    <a:cubicBezTo>
                      <a:pt x="94" y="107"/>
                      <a:pt x="94" y="107"/>
                      <a:pt x="94" y="107"/>
                    </a:cubicBezTo>
                    <a:lnTo>
                      <a:pt x="72" y="107"/>
                    </a:lnTo>
                    <a:close/>
                    <a:moveTo>
                      <a:pt x="45" y="17"/>
                    </a:move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62" y="59"/>
                      <a:pt x="72" y="51"/>
                      <a:pt x="72" y="38"/>
                    </a:cubicBezTo>
                    <a:cubicBezTo>
                      <a:pt x="72" y="24"/>
                      <a:pt x="62" y="1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16">
                <a:extLst>
                  <a:ext uri="{FF2B5EF4-FFF2-40B4-BE49-F238E27FC236}">
                    <a16:creationId xmlns:a16="http://schemas.microsoft.com/office/drawing/2014/main" id="{AC6FA6E4-E7DA-4166-A5BE-56963A5F54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8050" y="3892551"/>
                <a:ext cx="392113" cy="420688"/>
              </a:xfrm>
              <a:custGeom>
                <a:avLst/>
                <a:gdLst>
                  <a:gd name="T0" fmla="*/ 83 w 104"/>
                  <a:gd name="T1" fmla="*/ 54 h 111"/>
                  <a:gd name="T2" fmla="*/ 102 w 104"/>
                  <a:gd name="T3" fmla="*/ 54 h 111"/>
                  <a:gd name="T4" fmla="*/ 102 w 104"/>
                  <a:gd name="T5" fmla="*/ 97 h 111"/>
                  <a:gd name="T6" fmla="*/ 59 w 104"/>
                  <a:gd name="T7" fmla="*/ 111 h 111"/>
                  <a:gd name="T8" fmla="*/ 0 w 104"/>
                  <a:gd name="T9" fmla="*/ 55 h 111"/>
                  <a:gd name="T10" fmla="*/ 59 w 104"/>
                  <a:gd name="T11" fmla="*/ 0 h 111"/>
                  <a:gd name="T12" fmla="*/ 104 w 104"/>
                  <a:gd name="T13" fmla="*/ 18 h 111"/>
                  <a:gd name="T14" fmla="*/ 91 w 104"/>
                  <a:gd name="T15" fmla="*/ 30 h 111"/>
                  <a:gd name="T16" fmla="*/ 60 w 104"/>
                  <a:gd name="T17" fmla="*/ 18 h 111"/>
                  <a:gd name="T18" fmla="*/ 21 w 104"/>
                  <a:gd name="T19" fmla="*/ 55 h 111"/>
                  <a:gd name="T20" fmla="*/ 60 w 104"/>
                  <a:gd name="T21" fmla="*/ 93 h 111"/>
                  <a:gd name="T22" fmla="*/ 83 w 104"/>
                  <a:gd name="T23" fmla="*/ 88 h 111"/>
                  <a:gd name="T24" fmla="*/ 83 w 104"/>
                  <a:gd name="T25" fmla="*/ 5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4" h="111">
                    <a:moveTo>
                      <a:pt x="83" y="54"/>
                    </a:moveTo>
                    <a:cubicBezTo>
                      <a:pt x="102" y="54"/>
                      <a:pt x="102" y="54"/>
                      <a:pt x="102" y="54"/>
                    </a:cubicBezTo>
                    <a:cubicBezTo>
                      <a:pt x="102" y="97"/>
                      <a:pt x="102" y="97"/>
                      <a:pt x="102" y="97"/>
                    </a:cubicBezTo>
                    <a:cubicBezTo>
                      <a:pt x="91" y="106"/>
                      <a:pt x="75" y="111"/>
                      <a:pt x="59" y="111"/>
                    </a:cubicBezTo>
                    <a:cubicBezTo>
                      <a:pt x="25" y="111"/>
                      <a:pt x="0" y="88"/>
                      <a:pt x="0" y="55"/>
                    </a:cubicBezTo>
                    <a:cubicBezTo>
                      <a:pt x="0" y="23"/>
                      <a:pt x="25" y="0"/>
                      <a:pt x="59" y="0"/>
                    </a:cubicBezTo>
                    <a:cubicBezTo>
                      <a:pt x="78" y="0"/>
                      <a:pt x="93" y="6"/>
                      <a:pt x="104" y="18"/>
                    </a:cubicBezTo>
                    <a:cubicBezTo>
                      <a:pt x="91" y="30"/>
                      <a:pt x="91" y="30"/>
                      <a:pt x="91" y="30"/>
                    </a:cubicBezTo>
                    <a:cubicBezTo>
                      <a:pt x="82" y="22"/>
                      <a:pt x="72" y="18"/>
                      <a:pt x="60" y="18"/>
                    </a:cubicBezTo>
                    <a:cubicBezTo>
                      <a:pt x="37" y="18"/>
                      <a:pt x="21" y="33"/>
                      <a:pt x="21" y="55"/>
                    </a:cubicBezTo>
                    <a:cubicBezTo>
                      <a:pt x="21" y="77"/>
                      <a:pt x="37" y="93"/>
                      <a:pt x="60" y="93"/>
                    </a:cubicBezTo>
                    <a:cubicBezTo>
                      <a:pt x="68" y="93"/>
                      <a:pt x="76" y="92"/>
                      <a:pt x="83" y="88"/>
                    </a:cubicBezTo>
                    <a:lnTo>
                      <a:pt x="83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7">
                <a:extLst>
                  <a:ext uri="{FF2B5EF4-FFF2-40B4-BE49-F238E27FC236}">
                    <a16:creationId xmlns:a16="http://schemas.microsoft.com/office/drawing/2014/main" id="{617F07C8-5D8C-4093-A430-C0F185DAED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713663" y="3900489"/>
                <a:ext cx="404813" cy="406400"/>
              </a:xfrm>
              <a:custGeom>
                <a:avLst/>
                <a:gdLst>
                  <a:gd name="T0" fmla="*/ 152 w 255"/>
                  <a:gd name="T1" fmla="*/ 165 h 256"/>
                  <a:gd name="T2" fmla="*/ 152 w 255"/>
                  <a:gd name="T3" fmla="*/ 256 h 256"/>
                  <a:gd name="T4" fmla="*/ 103 w 255"/>
                  <a:gd name="T5" fmla="*/ 256 h 256"/>
                  <a:gd name="T6" fmla="*/ 103 w 255"/>
                  <a:gd name="T7" fmla="*/ 167 h 256"/>
                  <a:gd name="T8" fmla="*/ 0 w 255"/>
                  <a:gd name="T9" fmla="*/ 0 h 256"/>
                  <a:gd name="T10" fmla="*/ 53 w 255"/>
                  <a:gd name="T11" fmla="*/ 0 h 256"/>
                  <a:gd name="T12" fmla="*/ 129 w 255"/>
                  <a:gd name="T13" fmla="*/ 124 h 256"/>
                  <a:gd name="T14" fmla="*/ 207 w 255"/>
                  <a:gd name="T15" fmla="*/ 0 h 256"/>
                  <a:gd name="T16" fmla="*/ 255 w 255"/>
                  <a:gd name="T17" fmla="*/ 0 h 256"/>
                  <a:gd name="T18" fmla="*/ 152 w 255"/>
                  <a:gd name="T19" fmla="*/ 16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5" h="256">
                    <a:moveTo>
                      <a:pt x="152" y="165"/>
                    </a:moveTo>
                    <a:lnTo>
                      <a:pt x="152" y="256"/>
                    </a:lnTo>
                    <a:lnTo>
                      <a:pt x="103" y="256"/>
                    </a:lnTo>
                    <a:lnTo>
                      <a:pt x="103" y="167"/>
                    </a:lnTo>
                    <a:lnTo>
                      <a:pt x="0" y="0"/>
                    </a:lnTo>
                    <a:lnTo>
                      <a:pt x="53" y="0"/>
                    </a:lnTo>
                    <a:lnTo>
                      <a:pt x="129" y="124"/>
                    </a:lnTo>
                    <a:lnTo>
                      <a:pt x="207" y="0"/>
                    </a:lnTo>
                    <a:lnTo>
                      <a:pt x="255" y="0"/>
                    </a:lnTo>
                    <a:lnTo>
                      <a:pt x="152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2914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i="0" kern="1200" spc="0" baseline="0">
          <a:solidFill>
            <a:schemeClr val="tx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000" kern="1200" spc="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2000" kern="1200" spc="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6400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000" kern="1200" spc="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8229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Segoe UI" panose="020B0502040204020203" pitchFamily="34" charset="0"/>
        <a:buChar char="–"/>
        <a:defRPr sz="2000" kern="1200" spc="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100584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2000" kern="1200" spc="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50AD4D-9A6C-3E5E-81DF-4D1BE2689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D354B-EE88-1AD9-AF6B-32956BA38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EFB041-2C86-0A35-D1B3-CA97401447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CD5CEA-BFE0-4791-8767-269DED0AED88}" type="datetimeFigureOut">
              <a:rPr lang="en-US" smtClean="0"/>
              <a:t>5/2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8BD914-99BB-029C-783C-334DD4FD60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C0830-9146-9FF2-07C8-3C7BC1384E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521D2-960D-48A9-B908-C77A648E6A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061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9ED2079-4994-299C-7EC2-8A78BAA138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0" y="5909734"/>
            <a:ext cx="12191992" cy="94826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C84BB5-0AD1-F841-1E7D-79881B407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365125"/>
            <a:ext cx="10298112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C2958-4F3F-5D0F-4577-09A2604521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2168525"/>
            <a:ext cx="10298112" cy="36023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86E4DC-A7BF-D8B2-D9D2-FFF2385FC8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5688" y="6214110"/>
            <a:ext cx="25257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06698-4EA1-9A44-8505-698B4F777BCE}" type="datetime1">
              <a:rPr lang="en-CA" smtClean="0"/>
              <a:t>2026-05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CFC36-D21B-6F21-B74F-EE7ECB928F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1411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FC3EA6-5ADE-9BE3-476C-56699A6534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8480" y="6214110"/>
            <a:ext cx="6553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000" b="0">
                <a:solidFill>
                  <a:schemeClr val="bg1"/>
                </a:solidFill>
              </a:defRPr>
            </a:lvl1pPr>
          </a:lstStyle>
          <a:p>
            <a:fld id="{D2116F40-713B-854C-87D7-432543553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742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5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3634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1366">
          <p15:clr>
            <a:srgbClr val="F26B43"/>
          </p15:clr>
        </p15:guide>
        <p15:guide id="7" orient="horz" pos="12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12.xml"/><Relationship Id="rId5" Type="http://schemas.openxmlformats.org/officeDocument/2006/relationships/image" Target="../media/image9.png"/><Relationship Id="rId4" Type="http://schemas.openxmlformats.org/officeDocument/2006/relationships/customXml" Target="../ink/ink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14.xml"/><Relationship Id="rId5" Type="http://schemas.openxmlformats.org/officeDocument/2006/relationships/image" Target="NULL"/><Relationship Id="rId4" Type="http://schemas.openxmlformats.org/officeDocument/2006/relationships/customXml" Target="../ink/ink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16.xml"/><Relationship Id="rId5" Type="http://schemas.openxmlformats.org/officeDocument/2006/relationships/image" Target="../media/image9.png"/><Relationship Id="rId4" Type="http://schemas.openxmlformats.org/officeDocument/2006/relationships/customXml" Target="../ink/ink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21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18.xml"/><Relationship Id="rId5" Type="http://schemas.openxmlformats.org/officeDocument/2006/relationships/image" Target="../media/image9.png"/><Relationship Id="rId4" Type="http://schemas.openxmlformats.org/officeDocument/2006/relationships/customXml" Target="../ink/ink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0.xml"/><Relationship Id="rId5" Type="http://schemas.openxmlformats.org/officeDocument/2006/relationships/image" Target="../media/image90.png"/><Relationship Id="rId4" Type="http://schemas.openxmlformats.org/officeDocument/2006/relationships/customXml" Target="../ink/ink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2.xml"/><Relationship Id="rId5" Type="http://schemas.openxmlformats.org/officeDocument/2006/relationships/image" Target="../media/image9.png"/><Relationship Id="rId4" Type="http://schemas.openxmlformats.org/officeDocument/2006/relationships/customXml" Target="../ink/ink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.xml"/><Relationship Id="rId5" Type="http://schemas.openxmlformats.org/officeDocument/2006/relationships/image" Target="../media/image9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4.xml"/><Relationship Id="rId5" Type="http://schemas.openxmlformats.org/officeDocument/2006/relationships/image" Target="NULL"/><Relationship Id="rId4" Type="http://schemas.openxmlformats.org/officeDocument/2006/relationships/customXml" Target="../ink/ink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6.xml"/><Relationship Id="rId5" Type="http://schemas.openxmlformats.org/officeDocument/2006/relationships/image" Target="../media/image9.png"/><Relationship Id="rId4" Type="http://schemas.openxmlformats.org/officeDocument/2006/relationships/customXml" Target="../ink/ink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8.xml"/><Relationship Id="rId5" Type="http://schemas.openxmlformats.org/officeDocument/2006/relationships/image" Target="../media/image9.png"/><Relationship Id="rId4" Type="http://schemas.openxmlformats.org/officeDocument/2006/relationships/customXml" Target="../ink/ink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10.xml"/><Relationship Id="rId5" Type="http://schemas.openxmlformats.org/officeDocument/2006/relationships/image" Target="../media/image9.png"/><Relationship Id="rId4" Type="http://schemas.openxmlformats.org/officeDocument/2006/relationships/customXml" Target="../ink/ink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-1525"/>
            <a:ext cx="8289290" cy="6858000"/>
            <a:chOff x="0" y="0"/>
            <a:chExt cx="8289290" cy="6858000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8289035" cy="685799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1155953" y="2434589"/>
              <a:ext cx="1240790" cy="0"/>
            </a:xfrm>
            <a:custGeom>
              <a:avLst/>
              <a:gdLst/>
              <a:ahLst/>
              <a:cxnLst/>
              <a:rect l="l" t="t" r="r" b="b"/>
              <a:pathLst>
                <a:path w="1240789">
                  <a:moveTo>
                    <a:pt x="0" y="0"/>
                  </a:moveTo>
                  <a:lnTo>
                    <a:pt x="1240536" y="0"/>
                  </a:lnTo>
                </a:path>
              </a:pathLst>
            </a:custGeom>
            <a:ln w="25400">
              <a:solidFill>
                <a:srgbClr val="A3A3A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48673" y="593484"/>
            <a:ext cx="6253462" cy="124457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76200" algn="ctr">
              <a:spcBef>
                <a:spcPts val="105"/>
              </a:spcBef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Emergency Management: Planning and Response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804939" y="1525"/>
            <a:ext cx="7316723" cy="68564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B6FF45-E643-4FBF-507C-B55EAC212841}"/>
              </a:ext>
            </a:extLst>
          </p:cNvPr>
          <p:cNvSpPr txBox="1"/>
          <p:nvPr/>
        </p:nvSpPr>
        <p:spPr>
          <a:xfrm>
            <a:off x="791017" y="2712300"/>
            <a:ext cx="45740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June 4, 202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Glenn Mey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of Operations, NG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265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D5DB7-01FA-E3B0-63FD-F0B408D3C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5B24642-8821-66CD-1F64-8476A77EF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3244" y="724793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East Harlem, NYC (2014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E80C0E-BFA8-6865-7D76-34AD6CECE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098" name="Picture 2" descr="2014 East Harlem gas explosion - Wikipedia">
            <a:extLst>
              <a:ext uri="{FF2B5EF4-FFF2-40B4-BE49-F238E27FC236}">
                <a16:creationId xmlns:a16="http://schemas.microsoft.com/office/drawing/2014/main" id="{6A1C748B-FFF9-163B-B033-C87FB8436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244" y="2274791"/>
            <a:ext cx="4828881" cy="3219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East Harlem Explosion Highlights Risk of Natural Gas Leaks | National  Geographic">
            <a:extLst>
              <a:ext uri="{FF2B5EF4-FFF2-40B4-BE49-F238E27FC236}">
                <a16:creationId xmlns:a16="http://schemas.microsoft.com/office/drawing/2014/main" id="{9CACE129-4073-943E-DBA2-2E240766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274791"/>
            <a:ext cx="5723118" cy="3219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74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FDA62-72A2-4500-734E-FD04B02F88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EF556C4-4F4B-E13A-8559-5EBEEE913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435" y="672295"/>
            <a:ext cx="10960365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Palmer Chocolate Factory, PA (2023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F3C381-8DF9-FBB2-5CFE-79CAC5DA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6146" name="Picture 2" descr="Deadly chocolate factory explosion caused by faulty gas fitting – NBC10  Philadelphia">
            <a:extLst>
              <a:ext uri="{FF2B5EF4-FFF2-40B4-BE49-F238E27FC236}">
                <a16:creationId xmlns:a16="http://schemas.microsoft.com/office/drawing/2014/main" id="{39B1581E-95D6-D12F-CDDE-7EC8E7AAD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721" y="2217854"/>
            <a:ext cx="5776588" cy="324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RM Palmer chocolate factory explosion ...">
            <a:extLst>
              <a:ext uri="{FF2B5EF4-FFF2-40B4-BE49-F238E27FC236}">
                <a16:creationId xmlns:a16="http://schemas.microsoft.com/office/drawing/2014/main" id="{66502A00-CFCA-AB00-C48A-E5C300FEA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999" y="2446836"/>
            <a:ext cx="4984588" cy="2791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7123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14D39C9-D8FE-0ACD-1A6A-C4E2464E8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0EF59B8-1434-E500-D4E0-AD6BB740B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000B5D-E09D-C4AD-03D3-4884971BD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805948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Impacts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C7A1E89A-5D5A-711C-2F30-53888F885B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64C560D4-8578-8421-6BF4-D9246B7AF0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1DADC0F3-DEE4-4887-0653-2811587FE18A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44270942-D7B3-0E6B-AA87-852E500A56A1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C4F5F151-201A-5145-3F0C-AC5E2F0C0C47}"/>
              </a:ext>
            </a:extLst>
          </p:cNvPr>
          <p:cNvSpPr txBox="1"/>
          <p:nvPr/>
        </p:nvSpPr>
        <p:spPr>
          <a:xfrm>
            <a:off x="572492" y="1690688"/>
            <a:ext cx="11157392" cy="5068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2800" b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System: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Major service interruptions and extended customer outages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Infrastructure damage 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Loss of pressure control and cascading failures</a:t>
            </a:r>
          </a:p>
          <a:p>
            <a:pPr marR="0" lvl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tabLst>
                <a:tab pos="457200" algn="l"/>
              </a:tabLst>
              <a:defRPr/>
            </a:pPr>
            <a:r>
              <a:rPr lang="en-US" sz="2800" b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Busines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en-US" sz="2000" b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Financial</a:t>
            </a: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 – fines, lawsuits, penalties, insurance premiums, debt financing, infrastructure investment, cost recovery, regul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Reputational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 – loss of trust by regulators, customers, inventor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Community</a:t>
            </a: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 – business losses, disruption of critical services, deployment of emergency responders, rebuilding cos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en-US" sz="2000" b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Regulation</a:t>
            </a: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 – increased federal and state requirements</a:t>
            </a:r>
          </a:p>
        </p:txBody>
      </p:sp>
    </p:spTree>
    <p:extLst>
      <p:ext uri="{BB962C8B-B14F-4D97-AF65-F5344CB8AC3E}">
        <p14:creationId xmlns:p14="http://schemas.microsoft.com/office/powerpoint/2010/main" val="10647609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72336F-DBF6-5FD9-D596-57BFEA34C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B81AC97-34F6-CB4C-903C-DC75BF808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6BB154-79B7-8BF0-7057-C8DAA1959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997185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Why is Emergency Response Important?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52AA6D55-9ABF-88DE-A883-2CB93C575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9B75580A-19A1-F047-617F-2B637D42E5C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1BCDFDF7-95D8-814A-F35A-E86771666E64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6EA18AB2-D427-A347-07A1-06130A271D3B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CE1BE59D-5083-88CE-1D92-1137035B4476}"/>
              </a:ext>
            </a:extLst>
          </p:cNvPr>
          <p:cNvSpPr txBox="1"/>
          <p:nvPr/>
        </p:nvSpPr>
        <p:spPr>
          <a:xfrm>
            <a:off x="471410" y="1957491"/>
            <a:ext cx="10972800" cy="4324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  <a:defRPr/>
            </a:pPr>
            <a:r>
              <a:rPr lang="en-US" sz="2800" dirty="0"/>
              <a:t>An effective emergency response capability is critical because rapid, coordinated action can mean the difference between a contained operational incident and a catastrophic event involving loss of life, prolonged outages, severe economic disruption, and lasting reputational damage.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lvl="1" algn="ctr"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  <a:defRPr/>
            </a:pPr>
            <a:r>
              <a:rPr lang="en-US" sz="2800" b="1" i="1" dirty="0"/>
              <a:t>“In emergencies, every second counts.”</a:t>
            </a:r>
          </a:p>
          <a:p>
            <a:pPr lvl="1" algn="ctr"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- American Red Cross</a:t>
            </a:r>
          </a:p>
        </p:txBody>
      </p:sp>
    </p:spTree>
    <p:extLst>
      <p:ext uri="{BB962C8B-B14F-4D97-AF65-F5344CB8AC3E}">
        <p14:creationId xmlns:p14="http://schemas.microsoft.com/office/powerpoint/2010/main" val="1596921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5CB7F97-BBB5-F3B5-CBFC-2FE426821A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DBDA4CF-294D-1E94-5F86-583057A8C1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DE2673-93B0-0C8E-7EBA-701F5D0C6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855394"/>
            <a:ext cx="8418635" cy="538418"/>
          </a:xfrm>
        </p:spPr>
        <p:txBody>
          <a:bodyPr vert="horz" lIns="91440" tIns="45720" rIns="91440" bIns="45720" rtlCol="0" anchor="b">
            <a:no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Emergency Planning and Response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2821CB03-CE13-C93E-E1C3-1F2B94D53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61D3CC43-FA41-2DE9-A26D-F0DB72E0C2B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3349E83F-3BCE-E851-F1B5-BBD543EE7B95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327D030D-78D1-209D-9827-2319D3124193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35B2FAC4-B2CF-9DBE-13C9-5AA6F6F6B66A}"/>
              </a:ext>
            </a:extLst>
          </p:cNvPr>
          <p:cNvSpPr txBox="1"/>
          <p:nvPr/>
        </p:nvSpPr>
        <p:spPr>
          <a:xfrm>
            <a:off x="646707" y="1899846"/>
            <a:ext cx="10801581" cy="4533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Incident Command </a:t>
            </a:r>
            <a:r>
              <a:rPr lang="en-US" sz="2800" kern="0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kumimoji="0" lang="en-US" sz="2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ystem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 (IC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en-US" sz="2800" kern="0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lans – ER, Bus Continuity,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 Cyber</a:t>
            </a:r>
            <a:endParaRPr kumimoji="0" lang="en-US" sz="2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Mutual aid coordination </a:t>
            </a: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en-US" sz="2400" kern="0" dirty="0">
                <a:solidFill>
                  <a:prstClr val="black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apability assessment</a:t>
            </a: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en-US" sz="2400" kern="0" dirty="0">
                <a:solidFill>
                  <a:prstClr val="black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Workforce integration and OQ</a:t>
            </a: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Collaboration and </a:t>
            </a:r>
            <a:r>
              <a:rPr lang="en-US" sz="2400" kern="0" dirty="0">
                <a:solidFill>
                  <a:prstClr val="black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upport</a:t>
            </a:r>
            <a:endParaRPr kumimoji="0" lang="en-US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rills and exercis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Communication</a:t>
            </a:r>
            <a:endParaRPr kumimoji="0" lang="en-US" sz="2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Comprehensive Emergency Management Program - VHA Office of Emergency  Management">
            <a:extLst>
              <a:ext uri="{FF2B5EF4-FFF2-40B4-BE49-F238E27FC236}">
                <a16:creationId xmlns:a16="http://schemas.microsoft.com/office/drawing/2014/main" id="{CC6C804C-1E58-F97E-5DBB-81E1B777CD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193" y="1965896"/>
            <a:ext cx="4539580" cy="453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0482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A1D8D97-1FB9-9C44-A6A8-0AA95103C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6501FC6-E42A-1DA9-71CE-77365FBA9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C8C6D2-623A-0479-33A8-C0003353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714507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Emergency Response: ICS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1556AB85-8E96-8ECC-E1A8-A389E1218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9107494B-6CD4-A236-0ACC-A643EE3394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62B22CB4-0CD1-29AF-C8D8-C5F57C689CBC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20F73C86-628C-5193-7588-A6E44CBD0600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3078" name="Picture 6">
            <a:extLst>
              <a:ext uri="{FF2B5EF4-FFF2-40B4-BE49-F238E27FC236}">
                <a16:creationId xmlns:a16="http://schemas.microsoft.com/office/drawing/2014/main" id="{D36AA4BD-7A54-3D98-EAB7-D40D32DF5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502" y="1824191"/>
            <a:ext cx="8088414" cy="4909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04961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A2AD49-3027-E97B-568C-CEABD2EDA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3FA96851-2504-6BBA-473E-DE970EF77D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823EDA-F7F5-6DFF-090D-979D946C3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537941"/>
            <a:ext cx="9907150" cy="1022379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Mutual Aid: Control Layers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D3F0C7B4-01BF-1621-D889-A6067B3B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426DD455-CF65-E07A-DFCD-66DE1342AA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23EDEDA6-49E1-0CF9-83C5-14DCCBBDB5AB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E5D17048-CAE3-087D-C1AD-6CF3B6B8A01C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111770B1-87B9-99A9-2738-4B7666A5E183}"/>
              </a:ext>
            </a:extLst>
          </p:cNvPr>
          <p:cNvSpPr txBox="1"/>
          <p:nvPr/>
        </p:nvSpPr>
        <p:spPr>
          <a:xfrm>
            <a:off x="572493" y="1846533"/>
            <a:ext cx="6294133" cy="4286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1" i="0" u="sng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A. Assess Competency, Compliance, and Eligibility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Responding Company attests on RFA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Requesting Company verifies</a:t>
            </a:r>
          </a:p>
          <a:p>
            <a:pPr marR="0" lvl="1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1" i="0" u="sng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B. Provide Onboard Briefing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Event details 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Safety, logistics, reporting requirements, emergency contac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Procedure, AOC identification/response review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tems requiring review from part A</a:t>
            </a:r>
          </a:p>
          <a:p>
            <a:pPr marL="457200" marR="0" lvl="1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1" i="0" u="sng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ptos" panose="020B0004020202020204" pitchFamily="34" charset="0"/>
                <a:cs typeface="Times New Roman" panose="02020603050405020304" pitchFamily="18" charset="0"/>
              </a:rPr>
              <a:t>C. Perform Quality Field Check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268492-1552-B109-218C-733E45B9A5DA}"/>
              </a:ext>
            </a:extLst>
          </p:cNvPr>
          <p:cNvSpPr txBox="1"/>
          <p:nvPr/>
        </p:nvSpPr>
        <p:spPr>
          <a:xfrm>
            <a:off x="7858664" y="1784337"/>
            <a:ext cx="4186962" cy="22056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Q Plan complies with federal and jurisdictional state OQ requirement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vered Tasks address the core elements required to safely perform the work being requested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ponding personnel have received training on the applicable Covered Task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ponding personnel have been evaluated and qualified to safely perform the requested Covered Task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Qualifications of responding personnel for requested OQ covered tasks are curren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 2" panose="05020102010507070707" pitchFamily="18" charset="2"/>
              <a:buChar char="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ponding personnel meet DOT Drug &amp; Alcohol Testing Program requirements. 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" name="Picture 2" descr=" Affirmed">
            <a:extLst>
              <a:ext uri="{FF2B5EF4-FFF2-40B4-BE49-F238E27FC236}">
                <a16:creationId xmlns:a16="http://schemas.microsoft.com/office/drawing/2014/main" id="{6BF60CED-0D77-526E-B9A8-006584AB8A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718" y="3776963"/>
            <a:ext cx="860431" cy="212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15EF7CB-D1FA-EA9D-ABA4-50F4463395F7}"/>
              </a:ext>
            </a:extLst>
          </p:cNvPr>
          <p:cNvCxnSpPr>
            <a:cxnSpLocks/>
          </p:cNvCxnSpPr>
          <p:nvPr/>
        </p:nvCxnSpPr>
        <p:spPr>
          <a:xfrm>
            <a:off x="5480513" y="2337912"/>
            <a:ext cx="2234825" cy="27299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C7B09DC-F80F-D218-FA21-BC5A04F58BA6}"/>
              </a:ext>
            </a:extLst>
          </p:cNvPr>
          <p:cNvSpPr txBox="1"/>
          <p:nvPr/>
        </p:nvSpPr>
        <p:spPr>
          <a:xfrm>
            <a:off x="7082287" y="4104245"/>
            <a:ext cx="4805077" cy="267983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8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tual Aid Arrival - Crew Briefing Script</a:t>
            </a:r>
            <a:endParaRPr kumimoji="0" lang="en-US" sz="7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en-US" sz="1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pening Statement: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is is your mutual aid arrival briefing. I’m going to walk through the situation, expectations, and safety requirements before we begin work.</a:t>
            </a:r>
            <a:endParaRPr kumimoji="0" lang="en-US" sz="1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en-US" sz="1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vent Overview: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’re responding to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ident typ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 The cause is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nown/suspecte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, and here’s where things  stand right now: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urrent system statu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 The impacted areas include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cation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, affecting approximately [#] customers, including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itical infrastructure if applicabl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 From a system standpoint, you’ll be working on a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O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 system, primarily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erial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, and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ter configuratio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 Be aware of [any unique system considerations]. The current restoration plan is: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hutdown/isolation if applicabl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, followed by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air sequenc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, then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-pressurization pla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 Key safety concerns include [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ll out specific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]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…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0669854-4142-2AC3-9E7B-8A949FED748C}"/>
              </a:ext>
            </a:extLst>
          </p:cNvPr>
          <p:cNvCxnSpPr>
            <a:cxnSpLocks/>
          </p:cNvCxnSpPr>
          <p:nvPr/>
        </p:nvCxnSpPr>
        <p:spPr>
          <a:xfrm>
            <a:off x="4080159" y="3503971"/>
            <a:ext cx="2929793" cy="60027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0613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C2033-CF9F-8246-14FE-F17C071BD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B1EF0FB-A659-9DA8-3E33-018D12540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20" y="679958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Merrimack Valley, MA (2018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B76EBC-FBD1-56C2-C724-3DD8A458B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074" name="Picture 2" descr="Merrimack Valley gas explosions - Wikipedia">
            <a:extLst>
              <a:ext uri="{FF2B5EF4-FFF2-40B4-BE49-F238E27FC236}">
                <a16:creationId xmlns:a16="http://schemas.microsoft.com/office/drawing/2014/main" id="{A248C412-5FF7-9A94-1369-EAAE2ABDB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6962" y="2310659"/>
            <a:ext cx="4828058" cy="322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Merrimack Valley gas explosions, 2018">
            <a:extLst>
              <a:ext uri="{FF2B5EF4-FFF2-40B4-BE49-F238E27FC236}">
                <a16:creationId xmlns:a16="http://schemas.microsoft.com/office/drawing/2014/main" id="{AADED2F9-A009-FA83-4473-046B52A5D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77" y="2310659"/>
            <a:ext cx="5748842" cy="322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3987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5A4938-EFE5-9165-C7B8-839C65E1C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8E180B-F39C-5101-2D6F-2AAAAF7E6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20" y="679958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Merrimack Valley Respon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72EE3E-22EB-9D4B-93E0-35506CFA7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3AAE68-C215-E4BA-9B1D-C44B0874662F}"/>
              </a:ext>
            </a:extLst>
          </p:cNvPr>
          <p:cNvSpPr txBox="1"/>
          <p:nvPr/>
        </p:nvSpPr>
        <p:spPr>
          <a:xfrm>
            <a:off x="699020" y="2271212"/>
            <a:ext cx="4114520" cy="1073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endParaRPr lang="en-US" sz="12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4000" b="1" i="1" dirty="0"/>
              <a:t>Group Exercise</a:t>
            </a:r>
            <a:endParaRPr lang="en-US" b="1" i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FDF49309-33ED-6C9E-1CDE-F1FBCF20B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764" y="1886667"/>
            <a:ext cx="6499119" cy="394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2932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B4A1B67-E0A2-E591-8CA7-5A6735A76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5ED38A5-7F0A-2D5A-98FD-80A60D3614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7AA2428F-BFF5-2C6F-5A87-C9D2C9DD12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8808CA50-8236-5D35-B7FD-FF72FC615F2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91BE93F1-92E2-AFD6-541B-A84EF9DDAA60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D18941B1-39B2-060D-6EAD-BA570A9C2361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1AD45A93-A447-2AB2-58F5-CCFC9076083B}"/>
              </a:ext>
            </a:extLst>
          </p:cNvPr>
          <p:cNvSpPr txBox="1"/>
          <p:nvPr/>
        </p:nvSpPr>
        <p:spPr>
          <a:xfrm>
            <a:off x="727587" y="2208835"/>
            <a:ext cx="10385086" cy="2077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endParaRPr lang="en-US" sz="12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</a:pPr>
            <a:r>
              <a:rPr lang="en-US" sz="3200" b="1" i="1" dirty="0"/>
              <a:t>For gas utility companies, emergency management is not just a safety function — it is an essential and core enterprise resilience and risk management discipline. </a:t>
            </a:r>
            <a:endParaRPr lang="en-US" sz="1400" b="1" i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ED2F250-B599-8C9B-34D0-FD674B79C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805948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Closing / Q&amp;A</a:t>
            </a:r>
          </a:p>
        </p:txBody>
      </p:sp>
    </p:spTree>
    <p:extLst>
      <p:ext uri="{BB962C8B-B14F-4D97-AF65-F5344CB8AC3E}">
        <p14:creationId xmlns:p14="http://schemas.microsoft.com/office/powerpoint/2010/main" val="1157863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60BB1CC-2414-0F38-0A7B-A5911FD04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ABAFB64-2C36-B477-7AC8-E1C6BE1AC2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5085E6-FDB2-74DD-FA5A-4B7F33F49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485" y="608433"/>
            <a:ext cx="6500322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Agenda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CB1C3506-FC32-CD3E-FE3E-B91473245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0161C30E-560A-5BBB-B952-64387EDA71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E6810A7D-9999-4F33-8F94-651124B2D306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E9C2F8B0-4350-956E-9955-0259C8E77DF7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80532862-4B01-6B68-52CD-0F2CABC26C8B}"/>
              </a:ext>
            </a:extLst>
          </p:cNvPr>
          <p:cNvSpPr txBox="1"/>
          <p:nvPr/>
        </p:nvSpPr>
        <p:spPr>
          <a:xfrm>
            <a:off x="620809" y="1818159"/>
            <a:ext cx="10876168" cy="380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y is Emergency Planning Important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Who Cares?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Risk Mitig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and Business Impac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ergency Planning and Response</a:t>
            </a:r>
          </a:p>
          <a:p>
            <a:pPr marL="342900" indent="-342900">
              <a:spcAft>
                <a:spcPts val="900"/>
              </a:spcAft>
              <a:buFont typeface="Wingdings" panose="05000000000000000000" pitchFamily="2" charset="2"/>
              <a:buChar char="Ø"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Closing and Q&amp;A</a:t>
            </a:r>
          </a:p>
        </p:txBody>
      </p:sp>
    </p:spTree>
    <p:extLst>
      <p:ext uri="{BB962C8B-B14F-4D97-AF65-F5344CB8AC3E}">
        <p14:creationId xmlns:p14="http://schemas.microsoft.com/office/powerpoint/2010/main" val="410064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860DBA-2DD9-DDC8-52A9-502805EBED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3E7F58E-DD5A-ABA5-8E75-479DFABD8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F08094-FDD4-1CFB-76A8-303726E51B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997185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Why is Emergency Planning Important?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9214C0B6-9BE5-42F9-C94D-2CB3EBF9D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33ADB2AD-CB85-9792-A97D-6EA1EE3CA5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E77EAFB7-1690-B2BB-AA9A-913B6ECC49C3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F5E17FA6-A5E4-B2FA-42F6-7208A0A33538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EA4A93D-216F-3DBA-F49E-FAD5CF7BCFAE}"/>
              </a:ext>
            </a:extLst>
          </p:cNvPr>
          <p:cNvSpPr txBox="1"/>
          <p:nvPr/>
        </p:nvSpPr>
        <p:spPr>
          <a:xfrm>
            <a:off x="471410" y="1957491"/>
            <a:ext cx="10972800" cy="4844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tabLst>
                <a:tab pos="4572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A robust gas emergency plan is essential because there are many risks and a single failure can rapidly escalate into a public safety crisis, widespread business disruption, major financial losses, and long-term damage to public trust and utility reputatio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R="0" lvl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tabLst>
                <a:tab pos="457200" algn="l"/>
              </a:tabLst>
              <a:defRPr/>
            </a:pPr>
            <a:r>
              <a:rPr lang="en-US" sz="2800" b="1" i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When people ask what I do for living, I tell them I manage risk.”</a:t>
            </a:r>
          </a:p>
          <a:p>
            <a:pPr marR="0" lvl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tabLst>
                <a:tab pos="457200" algn="l"/>
              </a:tabLst>
              <a:defRPr/>
            </a:pPr>
            <a:r>
              <a:rPr lang="en-US" sz="2800" i="1" kern="0" dirty="0">
                <a:solidFill>
                  <a:prstClr val="black"/>
                </a:solidFill>
                <a:cs typeface="Times New Roman" panose="02020603050405020304" pitchFamily="18" charset="0"/>
              </a:rPr>
              <a:t> – </a:t>
            </a: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Operations Manager</a:t>
            </a:r>
          </a:p>
          <a:p>
            <a:pPr marR="0" lvl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tabLst>
                <a:tab pos="457200" algn="l"/>
              </a:tabLst>
              <a:defRPr/>
            </a:pPr>
            <a:endParaRPr lang="en-US" sz="2800" b="1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Tx/>
              <a:buNone/>
              <a:tabLst>
                <a:tab pos="457200" algn="l"/>
              </a:tabLst>
              <a:defRPr/>
            </a:pPr>
            <a:r>
              <a:rPr kumimoji="0" lang="en-US" sz="2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“You are only as good as you last major event.”</a:t>
            </a: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Tx/>
              <a:buNone/>
              <a:tabLst>
                <a:tab pos="457200" algn="l"/>
              </a:tabLst>
              <a:defRPr/>
            </a:pPr>
            <a:r>
              <a:rPr kumimoji="0" lang="en-US" sz="28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– </a:t>
            </a:r>
            <a:r>
              <a:rPr kumimoji="0" lang="en-US" sz="2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nvestor Relations Executive</a:t>
            </a:r>
          </a:p>
        </p:txBody>
      </p:sp>
    </p:spTree>
    <p:extLst>
      <p:ext uri="{BB962C8B-B14F-4D97-AF65-F5344CB8AC3E}">
        <p14:creationId xmlns:p14="http://schemas.microsoft.com/office/powerpoint/2010/main" val="3443439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E92D9A9-569B-75FC-4E73-90F623C83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51F224B-7947-3DDF-09B1-F50DE4AE31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964D8-CD25-276B-25EC-4C11969E77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7355355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Who Cares?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F73036ED-C95F-4A31-DAEF-B3B3A9144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CEAE930E-2B98-DA87-5C6A-EB46430EC6D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DDB4DE5C-59A7-B734-A648-D843557C549E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79836948-7320-7DF2-C24A-F3C5877C1D18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E1035A52-B07A-F803-3EE3-367FCE88598B}"/>
              </a:ext>
            </a:extLst>
          </p:cNvPr>
          <p:cNvSpPr txBox="1"/>
          <p:nvPr/>
        </p:nvSpPr>
        <p:spPr>
          <a:xfrm>
            <a:off x="471410" y="1957491"/>
            <a:ext cx="10972800" cy="4310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Regulators - Federal (e.g., PHMSA, EPA, OSHA), State (e.g., DPS)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Public and communitie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Customer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Employees and union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Local governments and emergency responder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Insurer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Shareholders / investor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Environmental groups</a:t>
            </a:r>
            <a:endParaRPr lang="en-US" sz="2800" kern="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311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15CE46-E83D-1B05-6202-201A4A42BB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14D4C53-248E-980B-A631-2003DB803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37F87-01A0-E6B9-CFDF-7559A97CE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805948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Risks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FBBFC37B-6A95-E444-D07E-3883CE3093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FD246B6B-8BFC-CFDA-FFB3-2D62185A8A2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152347B4-8ECD-C22F-C3C7-2BD7D72836CC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01595A4A-DC84-F212-4789-629824876413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23764A92-8E61-ACED-2592-96E803917FC6}"/>
              </a:ext>
            </a:extLst>
          </p:cNvPr>
          <p:cNvSpPr txBox="1"/>
          <p:nvPr/>
        </p:nvSpPr>
        <p:spPr>
          <a:xfrm>
            <a:off x="816102" y="1881558"/>
            <a:ext cx="8494686" cy="4745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3</a:t>
            </a:r>
            <a:r>
              <a:rPr lang="en-US" sz="2800" kern="0" baseline="30000" dirty="0">
                <a:solidFill>
                  <a:prstClr val="black"/>
                </a:solidFill>
                <a:cs typeface="Times New Roman" panose="02020603050405020304" pitchFamily="18" charset="0"/>
              </a:rPr>
              <a:t>rd</a:t>
            </a: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 Party damage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Weak or incomplete integrity management plan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Aging infrastructure 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Supply disruptions and power generation impact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Inadequate training 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Earthquakes, floods, wildfires, extreme cold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rdependency/coordination with electric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8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Physical and cyber sabotage</a:t>
            </a:r>
          </a:p>
        </p:txBody>
      </p:sp>
    </p:spTree>
    <p:extLst>
      <p:ext uri="{BB962C8B-B14F-4D97-AF65-F5344CB8AC3E}">
        <p14:creationId xmlns:p14="http://schemas.microsoft.com/office/powerpoint/2010/main" val="33030990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EF9E7-DDDE-57D1-D079-AFE8C85B8D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9975508-3456-7A9D-5B31-414A7CBDF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702" y="575063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Carlsbad, NM (2000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A202A9-E3D6-60EC-4965-F3720AD4E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051" name="Picture 3" descr="Pipeline blast kills 10 campers, hurts two | | theworldlink.com">
            <a:extLst>
              <a:ext uri="{FF2B5EF4-FFF2-40B4-BE49-F238E27FC236}">
                <a16:creationId xmlns:a16="http://schemas.microsoft.com/office/drawing/2014/main" id="{96F811E2-4A5B-158A-547E-0DDC5C2925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701" y="2047302"/>
            <a:ext cx="4403955" cy="3640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Natural Gas Pipeline Rupture and Fire Near Carlsbad, New Mexico August 19,  2000">
            <a:extLst>
              <a:ext uri="{FF2B5EF4-FFF2-40B4-BE49-F238E27FC236}">
                <a16:creationId xmlns:a16="http://schemas.microsoft.com/office/drawing/2014/main" id="{EFC5871E-C388-855A-8113-90E605485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9976" y="2047301"/>
            <a:ext cx="5522656" cy="364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9310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337E5B-6E21-8B09-028B-0FC410B72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4D5ADB5-E4B2-CCB6-F282-66961FA46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378" y="567898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San Bruno, CA (2010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2153FE-D6E4-0FB6-5FAC-79BEF73C8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27" name="Picture 3" descr="PUC seeks higher PG&amp;E penalties for San Bruno explosion - Los Angeles Times">
            <a:extLst>
              <a:ext uri="{FF2B5EF4-FFF2-40B4-BE49-F238E27FC236}">
                <a16:creationId xmlns:a16="http://schemas.microsoft.com/office/drawing/2014/main" id="{4957CAF3-8836-FF79-2C5B-276BEE493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74" y="1992022"/>
            <a:ext cx="5390945" cy="3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It looks like a war zone'">
            <a:extLst>
              <a:ext uri="{FF2B5EF4-FFF2-40B4-BE49-F238E27FC236}">
                <a16:creationId xmlns:a16="http://schemas.microsoft.com/office/drawing/2014/main" id="{3369190A-912F-A3CC-9C70-127F07F89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589" y="1992021"/>
            <a:ext cx="5341525" cy="3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782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7D3E3-095D-8CC9-2AAA-F3E1D5062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AD89CE4-21F2-74E6-9DC4-C5558C45F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721" y="596341"/>
            <a:ext cx="9760759" cy="9475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Aquidneck Island, RI (2019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1B34C9-4151-83A1-A518-01E6C616C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16F40-713B-854C-87D7-4325435532B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242" name="Picture 2" descr="gas proposal">
            <a:extLst>
              <a:ext uri="{FF2B5EF4-FFF2-40B4-BE49-F238E27FC236}">
                <a16:creationId xmlns:a16="http://schemas.microsoft.com/office/drawing/2014/main" id="{F4B9B400-E64C-0C79-5827-F8E3A0FB8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079" y="2067335"/>
            <a:ext cx="5047130" cy="3358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tate: Utilities on hook for January gas failure">
            <a:extLst>
              <a:ext uri="{FF2B5EF4-FFF2-40B4-BE49-F238E27FC236}">
                <a16:creationId xmlns:a16="http://schemas.microsoft.com/office/drawing/2014/main" id="{4CA5FB63-2E39-058B-1615-367130BDB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606" y="2067335"/>
            <a:ext cx="5428571" cy="3355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6655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AAA2D9E-7AC7-9FBC-CD3E-F2F97A42AF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E7C71D4-765D-D81A-4A5B-1615178E17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9CBF0E-9534-728B-13FF-3356368DB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2" y="709017"/>
            <a:ext cx="9805948" cy="79080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4600" b="1" dirty="0"/>
              <a:t>Risk Mitigation</a:t>
            </a:r>
          </a:p>
        </p:txBody>
      </p:sp>
      <p:sp>
        <p:nvSpPr>
          <p:cNvPr id="11" name="sketchy line">
            <a:extLst>
              <a:ext uri="{FF2B5EF4-FFF2-40B4-BE49-F238E27FC236}">
                <a16:creationId xmlns:a16="http://schemas.microsoft.com/office/drawing/2014/main" id="{57DF5630-C11D-C4CA-F702-E2C1E08C7B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sX0" fmla="*/ 0 w 10972800"/>
              <a:gd name="csY0" fmla="*/ 0 h 18288"/>
              <a:gd name="csX1" fmla="*/ 356616 w 10972800"/>
              <a:gd name="csY1" fmla="*/ 0 h 18288"/>
              <a:gd name="csX2" fmla="*/ 1042416 w 10972800"/>
              <a:gd name="csY2" fmla="*/ 0 h 18288"/>
              <a:gd name="csX3" fmla="*/ 1947672 w 10972800"/>
              <a:gd name="csY3" fmla="*/ 0 h 18288"/>
              <a:gd name="csX4" fmla="*/ 2633472 w 10972800"/>
              <a:gd name="csY4" fmla="*/ 0 h 18288"/>
              <a:gd name="csX5" fmla="*/ 2990088 w 10972800"/>
              <a:gd name="csY5" fmla="*/ 0 h 18288"/>
              <a:gd name="csX6" fmla="*/ 3456432 w 10972800"/>
              <a:gd name="csY6" fmla="*/ 0 h 18288"/>
              <a:gd name="csX7" fmla="*/ 4361688 w 10972800"/>
              <a:gd name="csY7" fmla="*/ 0 h 18288"/>
              <a:gd name="csX8" fmla="*/ 5266944 w 10972800"/>
              <a:gd name="csY8" fmla="*/ 0 h 18288"/>
              <a:gd name="csX9" fmla="*/ 6172200 w 10972800"/>
              <a:gd name="csY9" fmla="*/ 0 h 18288"/>
              <a:gd name="csX10" fmla="*/ 6528816 w 10972800"/>
              <a:gd name="csY10" fmla="*/ 0 h 18288"/>
              <a:gd name="csX11" fmla="*/ 7214616 w 10972800"/>
              <a:gd name="csY11" fmla="*/ 0 h 18288"/>
              <a:gd name="csX12" fmla="*/ 7790688 w 10972800"/>
              <a:gd name="csY12" fmla="*/ 0 h 18288"/>
              <a:gd name="csX13" fmla="*/ 8147304 w 10972800"/>
              <a:gd name="csY13" fmla="*/ 0 h 18288"/>
              <a:gd name="csX14" fmla="*/ 9052560 w 10972800"/>
              <a:gd name="csY14" fmla="*/ 0 h 18288"/>
              <a:gd name="csX15" fmla="*/ 9409176 w 10972800"/>
              <a:gd name="csY15" fmla="*/ 0 h 18288"/>
              <a:gd name="csX16" fmla="*/ 9765792 w 10972800"/>
              <a:gd name="csY16" fmla="*/ 0 h 18288"/>
              <a:gd name="csX17" fmla="*/ 10341864 w 10972800"/>
              <a:gd name="csY17" fmla="*/ 0 h 18288"/>
              <a:gd name="csX18" fmla="*/ 10972800 w 10972800"/>
              <a:gd name="csY18" fmla="*/ 0 h 18288"/>
              <a:gd name="csX19" fmla="*/ 10972800 w 10972800"/>
              <a:gd name="csY19" fmla="*/ 18288 h 18288"/>
              <a:gd name="csX20" fmla="*/ 10177272 w 10972800"/>
              <a:gd name="csY20" fmla="*/ 18288 h 18288"/>
              <a:gd name="csX21" fmla="*/ 9820656 w 10972800"/>
              <a:gd name="csY21" fmla="*/ 18288 h 18288"/>
              <a:gd name="csX22" fmla="*/ 9464040 w 10972800"/>
              <a:gd name="csY22" fmla="*/ 18288 h 18288"/>
              <a:gd name="csX23" fmla="*/ 8778240 w 10972800"/>
              <a:gd name="csY23" fmla="*/ 18288 h 18288"/>
              <a:gd name="csX24" fmla="*/ 8421624 w 10972800"/>
              <a:gd name="csY24" fmla="*/ 18288 h 18288"/>
              <a:gd name="csX25" fmla="*/ 7735824 w 10972800"/>
              <a:gd name="csY25" fmla="*/ 18288 h 18288"/>
              <a:gd name="csX26" fmla="*/ 6940296 w 10972800"/>
              <a:gd name="csY26" fmla="*/ 18288 h 18288"/>
              <a:gd name="csX27" fmla="*/ 6254496 w 10972800"/>
              <a:gd name="csY27" fmla="*/ 18288 h 18288"/>
              <a:gd name="csX28" fmla="*/ 5458968 w 10972800"/>
              <a:gd name="csY28" fmla="*/ 18288 h 18288"/>
              <a:gd name="csX29" fmla="*/ 4663440 w 10972800"/>
              <a:gd name="csY29" fmla="*/ 18288 h 18288"/>
              <a:gd name="csX30" fmla="*/ 4306824 w 10972800"/>
              <a:gd name="csY30" fmla="*/ 18288 h 18288"/>
              <a:gd name="csX31" fmla="*/ 3840480 w 10972800"/>
              <a:gd name="csY31" fmla="*/ 18288 h 18288"/>
              <a:gd name="csX32" fmla="*/ 3264408 w 10972800"/>
              <a:gd name="csY32" fmla="*/ 18288 h 18288"/>
              <a:gd name="csX33" fmla="*/ 2578608 w 10972800"/>
              <a:gd name="csY33" fmla="*/ 18288 h 18288"/>
              <a:gd name="csX34" fmla="*/ 1673352 w 10972800"/>
              <a:gd name="csY34" fmla="*/ 18288 h 18288"/>
              <a:gd name="csX35" fmla="*/ 877824 w 10972800"/>
              <a:gd name="csY35" fmla="*/ 18288 h 18288"/>
              <a:gd name="csX36" fmla="*/ 0 w 10972800"/>
              <a:gd name="csY36" fmla="*/ 18288 h 18288"/>
              <a:gd name="csX37" fmla="*/ 0 w 10972800"/>
              <a:gd name="csY37" fmla="*/ 0 h 182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ue and green logo&#10;&#10;Description automatically generated">
            <a:extLst>
              <a:ext uri="{FF2B5EF4-FFF2-40B4-BE49-F238E27FC236}">
                <a16:creationId xmlns:a16="http://schemas.microsoft.com/office/drawing/2014/main" id="{C3B85ABB-7E28-D22C-9591-8CA215C7616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" r="2071" b="-3"/>
          <a:stretch/>
        </p:blipFill>
        <p:spPr>
          <a:xfrm>
            <a:off x="10479643" y="150126"/>
            <a:ext cx="1407721" cy="146324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7D4ECF15-B9F1-6CF8-DAD8-726A8656730F}"/>
                  </a:ext>
                </a:extLst>
              </p14:cNvPr>
              <p14:cNvContentPartPr/>
              <p14:nvPr/>
            </p14:nvContentPartPr>
            <p14:xfrm>
              <a:off x="4898300" y="3013729"/>
              <a:ext cx="360" cy="36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426A77E-894D-38F9-317D-ED4BE49A842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2180" y="3007609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0016485F-39F3-065B-B9C7-A07964F4513A}"/>
                  </a:ext>
                </a:extLst>
              </p14:cNvPr>
              <p14:cNvContentPartPr/>
              <p14:nvPr/>
            </p14:nvContentPartPr>
            <p14:xfrm>
              <a:off x="4805060" y="5532649"/>
              <a:ext cx="360" cy="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E9E4DF4F-BD2A-22F0-1A31-BBB1BBFAB95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98940" y="5526529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BA3DD31D-ADDF-5F53-DF52-6B9D8F4ACAAB}"/>
              </a:ext>
            </a:extLst>
          </p:cNvPr>
          <p:cNvSpPr txBox="1"/>
          <p:nvPr/>
        </p:nvSpPr>
        <p:spPr>
          <a:xfrm>
            <a:off x="693801" y="1957318"/>
            <a:ext cx="5400675" cy="3613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Asset Protection – physical, maps, records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Integrity management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Contingency and redundancy 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Emergency Plans / exercises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Risk tracking and mapping 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Robust training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Strict compliance with regs/procedures</a:t>
            </a:r>
          </a:p>
          <a:p>
            <a:pPr marL="342900" marR="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0" dirty="0">
                <a:solidFill>
                  <a:prstClr val="black"/>
                </a:solidFill>
                <a:cs typeface="Times New Roman" panose="02020603050405020304" pitchFamily="18" charset="0"/>
              </a:rPr>
              <a:t>Communication with Electric</a:t>
            </a:r>
          </a:p>
        </p:txBody>
      </p:sp>
      <p:pic>
        <p:nvPicPr>
          <p:cNvPr id="4100" name="Picture 4" descr="Quality Systems - Full Cycle of Risk Management">
            <a:extLst>
              <a:ext uri="{FF2B5EF4-FFF2-40B4-BE49-F238E27FC236}">
                <a16:creationId xmlns:a16="http://schemas.microsoft.com/office/drawing/2014/main" id="{EA7969A0-1DB4-BC41-23EE-E9F588717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542" y="2076349"/>
            <a:ext cx="6093510" cy="274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AAC0326-EE9B-A542-A0AF-B84F69A39515}"/>
              </a:ext>
            </a:extLst>
          </p:cNvPr>
          <p:cNvSpPr txBox="1"/>
          <p:nvPr/>
        </p:nvSpPr>
        <p:spPr>
          <a:xfrm>
            <a:off x="769557" y="5953641"/>
            <a:ext cx="10649838" cy="556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2800" b="1" i="1" dirty="0"/>
              <a:t>“You don’t rise to the occasion—you fall to your level of training.”</a:t>
            </a:r>
            <a:endParaRPr lang="en-US" sz="2800" b="1" i="1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049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TI Energy">
  <a:themeElements>
    <a:clrScheme name="GTI Energy">
      <a:dk1>
        <a:srgbClr val="7B7B7B"/>
      </a:dk1>
      <a:lt1>
        <a:srgbClr val="FFFFFF"/>
      </a:lt1>
      <a:dk2>
        <a:srgbClr val="000000"/>
      </a:dk2>
      <a:lt2>
        <a:srgbClr val="E6E6E6"/>
      </a:lt2>
      <a:accent1>
        <a:srgbClr val="00559F"/>
      </a:accent1>
      <a:accent2>
        <a:srgbClr val="AAD654"/>
      </a:accent2>
      <a:accent3>
        <a:srgbClr val="35A656"/>
      </a:accent3>
      <a:accent4>
        <a:srgbClr val="EA8B49"/>
      </a:accent4>
      <a:accent5>
        <a:srgbClr val="BFBFBF"/>
      </a:accent5>
      <a:accent6>
        <a:srgbClr val="00B0F0"/>
      </a:accent6>
      <a:hlink>
        <a:srgbClr val="0ABDC6"/>
      </a:hlink>
      <a:folHlink>
        <a:srgbClr val="91278B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F1A9184F-6CC2-4BA1-BEA0-CF92D4925D1D}" vid="{86F80B65-B2F6-41F6-B3DD-4BF0D79A5A3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NGA">
      <a:dk1>
        <a:srgbClr val="044989"/>
      </a:dk1>
      <a:lt1>
        <a:srgbClr val="FFFFFF"/>
      </a:lt1>
      <a:dk2>
        <a:srgbClr val="000000"/>
      </a:dk2>
      <a:lt2>
        <a:srgbClr val="E7E6E6"/>
      </a:lt2>
      <a:accent1>
        <a:srgbClr val="006193"/>
      </a:accent1>
      <a:accent2>
        <a:srgbClr val="0074C1"/>
      </a:accent2>
      <a:accent3>
        <a:srgbClr val="27AAE1"/>
      </a:accent3>
      <a:accent4>
        <a:srgbClr val="006838"/>
      </a:accent4>
      <a:accent5>
        <a:srgbClr val="38B549"/>
      </a:accent5>
      <a:accent6>
        <a:srgbClr val="C3C3C3"/>
      </a:accent6>
      <a:hlink>
        <a:srgbClr val="0563C1"/>
      </a:hlink>
      <a:folHlink>
        <a:srgbClr val="D62DD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E95BBE0C9137449154AB6A3AF20B1C" ma:contentTypeVersion="15" ma:contentTypeDescription="Create a new document." ma:contentTypeScope="" ma:versionID="db4e7e69c0abc28465de90e16dbb5ca6">
  <xsd:schema xmlns:xsd="http://www.w3.org/2001/XMLSchema" xmlns:xs="http://www.w3.org/2001/XMLSchema" xmlns:p="http://schemas.microsoft.com/office/2006/metadata/properties" xmlns:ns2="7aab780c-5cb9-4d56-b1b7-a6df58ec173f" xmlns:ns3="935a9cfe-bd09-4cab-b5df-1bd7a966eb38" targetNamespace="http://schemas.microsoft.com/office/2006/metadata/properties" ma:root="true" ma:fieldsID="ab6e56a21611c459228eeda58628ff62" ns2:_="" ns3:_="">
    <xsd:import namespace="7aab780c-5cb9-4d56-b1b7-a6df58ec173f"/>
    <xsd:import namespace="935a9cfe-bd09-4cab-b5df-1bd7a966eb38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  <xsd:element ref="ns2:UploadedtoMartusandTiedou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b780c-5cb9-4d56-b1b7-a6df58ec173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e50f5c23-03d1-4936-b781-e5ae236990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  <xsd:element name="UploadedtoMartusandTiedout" ma:index="22" nillable="true" ma:displayName="Uploaded to Martus and Tied out" ma:default="0" ma:format="Dropdown" ma:internalName="UploadedtoMartusandTiedout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5a9cfe-bd09-4cab-b5df-1bd7a966eb3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75131e2e-a705-4f43-b75e-da042424f6e1}" ma:internalName="TaxCatchAll" ma:showField="CatchAllData" ma:web="935a9cfe-bd09-4cab-b5df-1bd7a966eb3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aab780c-5cb9-4d56-b1b7-a6df58ec173f">
      <Terms xmlns="http://schemas.microsoft.com/office/infopath/2007/PartnerControls"/>
    </lcf76f155ced4ddcb4097134ff3c332f>
    <TaxCatchAll xmlns="935a9cfe-bd09-4cab-b5df-1bd7a966eb38" xsi:nil="true"/>
    <UploadedtoMartusandTiedout xmlns="7aab780c-5cb9-4d56-b1b7-a6df58ec173f">false</UploadedtoMartusandTiedout>
  </documentManagement>
</p:properties>
</file>

<file path=customXml/itemProps1.xml><?xml version="1.0" encoding="utf-8"?>
<ds:datastoreItem xmlns:ds="http://schemas.openxmlformats.org/officeDocument/2006/customXml" ds:itemID="{CDE135B5-D99B-40EF-A715-0815492661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FB1859-6726-4643-BF53-AECAD1526570}"/>
</file>

<file path=customXml/itemProps3.xml><?xml version="1.0" encoding="utf-8"?>
<ds:datastoreItem xmlns:ds="http://schemas.openxmlformats.org/officeDocument/2006/customXml" ds:itemID="{AD383B7A-8DB3-45C1-85D5-8A3E784C75DB}">
  <ds:schemaRefs>
    <ds:schemaRef ds:uri="http://purl.org/dc/elements/1.1/"/>
    <ds:schemaRef ds:uri="http://schemas.microsoft.com/office/2006/metadata/properties"/>
    <ds:schemaRef ds:uri="49606a3f-8a3f-459c-95a9-73b6135f3483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ecc5376-410e-4c56-b912-ce212264ce0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107</TotalTime>
  <Words>824</Words>
  <Application>Microsoft Office PowerPoint</Application>
  <PresentationFormat>Widescreen</PresentationFormat>
  <Paragraphs>13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4" baseType="lpstr">
      <vt:lpstr>Aptos</vt:lpstr>
      <vt:lpstr>Arial</vt:lpstr>
      <vt:lpstr>Calibri</vt:lpstr>
      <vt:lpstr>Calibri Light</vt:lpstr>
      <vt:lpstr>Century Gothic</vt:lpstr>
      <vt:lpstr>Segoe UI</vt:lpstr>
      <vt:lpstr>Symbol</vt:lpstr>
      <vt:lpstr>Times New Roman</vt:lpstr>
      <vt:lpstr>Wingdings</vt:lpstr>
      <vt:lpstr>Wingdings 2</vt:lpstr>
      <vt:lpstr>7_Office Theme</vt:lpstr>
      <vt:lpstr>GTI Energy</vt:lpstr>
      <vt:lpstr>Office Theme</vt:lpstr>
      <vt:lpstr>1_Office Theme</vt:lpstr>
      <vt:lpstr>think-cell Slide</vt:lpstr>
      <vt:lpstr>Emergency Management: Planning and Response</vt:lpstr>
      <vt:lpstr>Agenda</vt:lpstr>
      <vt:lpstr>Why is Emergency Planning Important?</vt:lpstr>
      <vt:lpstr>Who Cares?</vt:lpstr>
      <vt:lpstr>Risks</vt:lpstr>
      <vt:lpstr>Carlsbad, NM (2000)</vt:lpstr>
      <vt:lpstr>San Bruno, CA (2010)</vt:lpstr>
      <vt:lpstr>Aquidneck Island, RI (2019)</vt:lpstr>
      <vt:lpstr>Risk Mitigation</vt:lpstr>
      <vt:lpstr>East Harlem, NYC (2014)</vt:lpstr>
      <vt:lpstr>Palmer Chocolate Factory, PA (2023)</vt:lpstr>
      <vt:lpstr>Impacts</vt:lpstr>
      <vt:lpstr>Why is Emergency Response Important?</vt:lpstr>
      <vt:lpstr>Emergency Planning and Response</vt:lpstr>
      <vt:lpstr>Emergency Response: ICS</vt:lpstr>
      <vt:lpstr>Mutual Aid: Control Layers</vt:lpstr>
      <vt:lpstr>Merrimack Valley, MA (2018)</vt:lpstr>
      <vt:lpstr>Merrimack Valley Response</vt:lpstr>
      <vt:lpstr>Closing / 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NGA 2024 Spring Operations Conference</dc:title>
  <dc:creator>Alana Daly</dc:creator>
  <cp:lastModifiedBy>Glenn Meyers</cp:lastModifiedBy>
  <cp:revision>199</cp:revision>
  <cp:lastPrinted>2026-05-15T13:24:56Z</cp:lastPrinted>
  <dcterms:created xsi:type="dcterms:W3CDTF">2024-01-24T18:24:41Z</dcterms:created>
  <dcterms:modified xsi:type="dcterms:W3CDTF">2026-05-26T17:0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E95BBE0C9137449154AB6A3AF20B1C</vt:lpwstr>
  </property>
</Properties>
</file>